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notesSlides/notesSlide2.xml" ContentType="application/vnd.openxmlformats-officedocument.presentationml.notesSlide+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notesSlides/notesSlide4.xml" ContentType="application/vnd.openxmlformats-officedocument.presentationml.notesSlide+xml"/>
  <Override PartName="/ppt/tags/tag39.xml" ContentType="application/vnd.openxmlformats-officedocument.presentationml.tags+xml"/>
  <Override PartName="/ppt/notesSlides/notesSlide5.xml" ContentType="application/vnd.openxmlformats-officedocument.presentationml.notesSlide+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notesSlides/notesSlide7.xml" ContentType="application/vnd.openxmlformats-officedocument.presentationml.notesSlide+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44.xml" ContentType="application/vnd.openxmlformats-officedocument.presentationml.tags+xml"/>
  <Override PartName="/ppt/notesSlides/notesSlide10.xml" ContentType="application/vnd.openxmlformats-officedocument.presentationml.notesSlide+xml"/>
  <Override PartName="/ppt/tags/tag45.xml" ContentType="application/vnd.openxmlformats-officedocument.presentationml.tags+xml"/>
  <Override PartName="/ppt/notesSlides/notesSlide11.xml" ContentType="application/vnd.openxmlformats-officedocument.presentationml.notesSlide+xml"/>
  <Override PartName="/ppt/tags/tag46.xml" ContentType="application/vnd.openxmlformats-officedocument.presentationml.tags+xml"/>
  <Override PartName="/ppt/notesSlides/notesSlide12.xml" ContentType="application/vnd.openxmlformats-officedocument.presentationml.notesSlide+xml"/>
  <Override PartName="/ppt/tags/tag47.xml" ContentType="application/vnd.openxmlformats-officedocument.presentationml.tags+xml"/>
  <Override PartName="/ppt/notesSlides/notesSlide13.xml" ContentType="application/vnd.openxmlformats-officedocument.presentationml.notesSlide+xml"/>
  <Override PartName="/ppt/tags/tag48.xml" ContentType="application/vnd.openxmlformats-officedocument.presentationml.tags+xml"/>
  <Override PartName="/ppt/notesSlides/notesSlide14.xml" ContentType="application/vnd.openxmlformats-officedocument.presentationml.notesSlide+xml"/>
  <Override PartName="/ppt/tags/tag49.xml" ContentType="application/vnd.openxmlformats-officedocument.presentationml.tags+xml"/>
  <Override PartName="/ppt/notesSlides/notesSlide15.xml" ContentType="application/vnd.openxmlformats-officedocument.presentationml.notesSlide+xml"/>
  <Override PartName="/ppt/tags/tag50.xml" ContentType="application/vnd.openxmlformats-officedocument.presentationml.tags+xml"/>
  <Override PartName="/ppt/notesSlides/notesSlide16.xml" ContentType="application/vnd.openxmlformats-officedocument.presentationml.notesSlide+xml"/>
  <Override PartName="/ppt/tags/tag51.xml" ContentType="application/vnd.openxmlformats-officedocument.presentationml.tags+xml"/>
  <Override PartName="/ppt/notesSlides/notesSlide17.xml" ContentType="application/vnd.openxmlformats-officedocument.presentationml.notesSlide+xml"/>
  <Override PartName="/ppt/tags/tag52.xml" ContentType="application/vnd.openxmlformats-officedocument.presentationml.tags+xml"/>
  <Override PartName="/ppt/notesSlides/notesSlide18.xml" ContentType="application/vnd.openxmlformats-officedocument.presentationml.notesSlide+xml"/>
  <Override PartName="/ppt/tags/tag53.xml" ContentType="application/vnd.openxmlformats-officedocument.presentationml.tags+xml"/>
  <Override PartName="/ppt/notesSlides/notesSlide19.xml" ContentType="application/vnd.openxmlformats-officedocument.presentationml.notesSlide+xml"/>
  <Override PartName="/ppt/tags/tag54.xml" ContentType="application/vnd.openxmlformats-officedocument.presentationml.tags+xml"/>
  <Override PartName="/ppt/notesSlides/notesSlide20.xml" ContentType="application/vnd.openxmlformats-officedocument.presentationml.notesSlide+xml"/>
  <Override PartName="/ppt/tags/tag55.xml" ContentType="application/vnd.openxmlformats-officedocument.presentationml.tags+xml"/>
  <Override PartName="/ppt/notesSlides/notesSlide21.xml" ContentType="application/vnd.openxmlformats-officedocument.presentationml.notesSlide+xml"/>
  <Override PartName="/ppt/tags/tag56.xml" ContentType="application/vnd.openxmlformats-officedocument.presentationml.tags+xml"/>
  <Override PartName="/ppt/notesSlides/notesSlide22.xml" ContentType="application/vnd.openxmlformats-officedocument.presentationml.notesSlide+xml"/>
  <Override PartName="/ppt/tags/tag57.xml" ContentType="application/vnd.openxmlformats-officedocument.presentationml.tags+xml"/>
  <Override PartName="/ppt/notesSlides/notesSlide23.xml" ContentType="application/vnd.openxmlformats-officedocument.presentationml.notesSlide+xml"/>
  <Override PartName="/ppt/tags/tag58.xml" ContentType="application/vnd.openxmlformats-officedocument.presentationml.tags+xml"/>
  <Override PartName="/ppt/notesSlides/notesSlide24.xml" ContentType="application/vnd.openxmlformats-officedocument.presentationml.notesSlide+xml"/>
  <Override PartName="/ppt/tags/tag59.xml" ContentType="application/vnd.openxmlformats-officedocument.presentationml.tags+xml"/>
  <Override PartName="/ppt/notesSlides/notesSlide25.xml" ContentType="application/vnd.openxmlformats-officedocument.presentationml.notesSlide+xml"/>
  <Override PartName="/ppt/tags/tag60.xml" ContentType="application/vnd.openxmlformats-officedocument.presentationml.tags+xml"/>
  <Override PartName="/ppt/notesSlides/notesSlide26.xml" ContentType="application/vnd.openxmlformats-officedocument.presentationml.notesSlide+xml"/>
  <Override PartName="/ppt/tags/tag61.xml" ContentType="application/vnd.openxmlformats-officedocument.presentationml.tags+xml"/>
  <Override PartName="/ppt/notesSlides/notesSlide27.xml" ContentType="application/vnd.openxmlformats-officedocument.presentationml.notesSlide+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notesSlides/notesSlide29.xml" ContentType="application/vnd.openxmlformats-officedocument.presentationml.notesSlide+xml"/>
  <Override PartName="/ppt/tags/tag64.xml" ContentType="application/vnd.openxmlformats-officedocument.presentationml.tags+xml"/>
  <Override PartName="/ppt/notesSlides/notesSlide30.xml" ContentType="application/vnd.openxmlformats-officedocument.presentationml.notesSlide+xml"/>
  <Override PartName="/ppt/tags/tag65.xml" ContentType="application/vnd.openxmlformats-officedocument.presentationml.tags+xml"/>
  <Override PartName="/ppt/notesSlides/notesSlide31.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37"/>
  </p:notesMasterIdLst>
  <p:sldIdLst>
    <p:sldId id="2379" r:id="rId5"/>
    <p:sldId id="2394" r:id="rId6"/>
    <p:sldId id="2448" r:id="rId7"/>
    <p:sldId id="2431" r:id="rId8"/>
    <p:sldId id="2434" r:id="rId9"/>
    <p:sldId id="2374" r:id="rId10"/>
    <p:sldId id="2427" r:id="rId11"/>
    <p:sldId id="2392" r:id="rId12"/>
    <p:sldId id="2428" r:id="rId13"/>
    <p:sldId id="2395" r:id="rId14"/>
    <p:sldId id="2398" r:id="rId15"/>
    <p:sldId id="2339" r:id="rId16"/>
    <p:sldId id="2408" r:id="rId17"/>
    <p:sldId id="2449" r:id="rId18"/>
    <p:sldId id="422" r:id="rId19"/>
    <p:sldId id="2454" r:id="rId20"/>
    <p:sldId id="2450" r:id="rId21"/>
    <p:sldId id="2421" r:id="rId22"/>
    <p:sldId id="2363" r:id="rId23"/>
    <p:sldId id="2444" r:id="rId24"/>
    <p:sldId id="2445" r:id="rId25"/>
    <p:sldId id="2451" r:id="rId26"/>
    <p:sldId id="2443" r:id="rId27"/>
    <p:sldId id="2447" r:id="rId28"/>
    <p:sldId id="2446" r:id="rId29"/>
    <p:sldId id="2442" r:id="rId30"/>
    <p:sldId id="2422" r:id="rId31"/>
    <p:sldId id="2452" r:id="rId32"/>
    <p:sldId id="2437" r:id="rId33"/>
    <p:sldId id="2453" r:id="rId34"/>
    <p:sldId id="2369" r:id="rId35"/>
    <p:sldId id="2350" r:id="rId36"/>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and background information" id="{883B11EF-411A-4DB9-86E6-D163D20D14C1}">
          <p14:sldIdLst>
            <p14:sldId id="2379"/>
          </p14:sldIdLst>
        </p14:section>
        <p14:section name="Introduction and background information" id="{8DC827DC-5671-411D-BA6A-3DCA67824E87}">
          <p14:sldIdLst>
            <p14:sldId id="2394"/>
            <p14:sldId id="2448"/>
            <p14:sldId id="2431"/>
            <p14:sldId id="2434"/>
            <p14:sldId id="2374"/>
            <p14:sldId id="2427"/>
            <p14:sldId id="2392"/>
          </p14:sldIdLst>
        </p14:section>
        <p14:section name="Workshop slides" id="{02905E05-6B8A-40A0-A0C9-406062612CD9}">
          <p14:sldIdLst>
            <p14:sldId id="2428"/>
            <p14:sldId id="2395"/>
            <p14:sldId id="2398"/>
            <p14:sldId id="2339"/>
            <p14:sldId id="2408"/>
            <p14:sldId id="2449"/>
            <p14:sldId id="422"/>
            <p14:sldId id="2454"/>
            <p14:sldId id="2450"/>
            <p14:sldId id="2421"/>
            <p14:sldId id="2363"/>
            <p14:sldId id="2444"/>
            <p14:sldId id="2445"/>
            <p14:sldId id="2451"/>
            <p14:sldId id="2443"/>
            <p14:sldId id="2447"/>
            <p14:sldId id="2446"/>
            <p14:sldId id="2442"/>
            <p14:sldId id="2422"/>
            <p14:sldId id="2452"/>
            <p14:sldId id="2437"/>
            <p14:sldId id="2453"/>
            <p14:sldId id="2369"/>
            <p14:sldId id="2350"/>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6F6B0F2-1C57-BADF-3999-C8FB7203F104}" name="Buyken  Maximilian (VPPL)" initials="BM(" userId="S::mbuyken@ethz.ch::6674c2ca-8f88-4e9a-a029-c4d0d5c5c3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genaolson" initials="g.o." lastIdx="5" clrIdx="6">
    <p:extLst>
      <p:ext uri="{19B8F6BF-5375-455C-9EA6-DF929625EA0E}">
        <p15:presenceInfo xmlns:p15="http://schemas.microsoft.com/office/powerpoint/2012/main" userId="genaolson" providerId="None"/>
      </p:ext>
    </p:extLst>
  </p:cmAuthor>
  <p:cmAuthor id="1" name="van Leeuwen  Sara (VPPL)" initials="vLS(" lastIdx="14" clrIdx="0">
    <p:extLst>
      <p:ext uri="{19B8F6BF-5375-455C-9EA6-DF929625EA0E}">
        <p15:presenceInfo xmlns:p15="http://schemas.microsoft.com/office/powerpoint/2012/main" userId="S::svanleeuwen@ethz.ch::7a5f1df4-0dd0-4c9e-a72f-a035cf318af6" providerId="AD"/>
      </p:ext>
    </p:extLst>
  </p:cmAuthor>
  <p:cmAuthor id="2" name="Kälin  Dahlia (HR)" initials="KD(" lastIdx="8" clrIdx="1">
    <p:extLst>
      <p:ext uri="{19B8F6BF-5375-455C-9EA6-DF929625EA0E}">
        <p15:presenceInfo xmlns:p15="http://schemas.microsoft.com/office/powerpoint/2012/main" userId="S-1-5-21-2025429265-764733703-1417001333-563691" providerId="AD"/>
      </p:ext>
    </p:extLst>
  </p:cmAuthor>
  <p:cmAuthor id="3" name="Hildbrand Studer  Ernestine (HR)" initials="HSE(" lastIdx="25" clrIdx="2">
    <p:extLst>
      <p:ext uri="{19B8F6BF-5375-455C-9EA6-DF929625EA0E}">
        <p15:presenceInfo xmlns:p15="http://schemas.microsoft.com/office/powerpoint/2012/main" userId="S::ehildbra@ethz.ch::e77c119a-1ea3-4930-842d-0e2d2b9dbcf1" providerId="AD"/>
      </p:ext>
    </p:extLst>
  </p:cmAuthor>
  <p:cmAuthor id="4" name="Buyken  Maximilian (VPPL)" initials="B(" lastIdx="40" clrIdx="3">
    <p:extLst>
      <p:ext uri="{19B8F6BF-5375-455C-9EA6-DF929625EA0E}">
        <p15:presenceInfo xmlns:p15="http://schemas.microsoft.com/office/powerpoint/2012/main" userId="S::mbuyken@ethz.ch::6674c2ca-8f88-4e9a-a029-c4d0d5c5c3c7" providerId="AD"/>
      </p:ext>
    </p:extLst>
  </p:cmAuthor>
  <p:cmAuthor id="5" name="Ghisletti  Martin (HR)" initials="G(" lastIdx="1" clrIdx="4">
    <p:extLst>
      <p:ext uri="{19B8F6BF-5375-455C-9EA6-DF929625EA0E}">
        <p15:presenceInfo xmlns:p15="http://schemas.microsoft.com/office/powerpoint/2012/main" userId="S::martingh@ethz.ch::291530b3-7f3d-484e-9abf-3b7e6bbe3bed" providerId="AD"/>
      </p:ext>
    </p:extLst>
  </p:cmAuthor>
  <p:cmAuthor id="6" name="Kälin  Dahlia (HR)" initials="KD( [2]" lastIdx="2" clrIdx="5">
    <p:extLst>
      <p:ext uri="{19B8F6BF-5375-455C-9EA6-DF929625EA0E}">
        <p15:presenceInfo xmlns:p15="http://schemas.microsoft.com/office/powerpoint/2012/main" userId="S::dahkaelin@ethz.ch::624c48f1-3554-4e6d-92b4-870628c1bb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2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67" autoAdjust="0"/>
    <p:restoredTop sz="94660"/>
  </p:normalViewPr>
  <p:slideViewPr>
    <p:cSldViewPr snapToGrid="0">
      <p:cViewPr varScale="1">
        <p:scale>
          <a:sx n="59" d="100"/>
          <a:sy n="59" d="100"/>
        </p:scale>
        <p:origin x="900" y="76"/>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presProps" Target="presProps.xml"/><Relationship Id="rId45"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uyken  Maximilian (VPPL)" userId="6674c2ca-8f88-4e9a-a029-c4d0d5c5c3c7" providerId="ADAL" clId="{44B500CB-C1E5-418D-9BCB-E01CA21DD4A9}"/>
    <pc:docChg chg="undo custSel modSld replTag">
      <pc:chgData name="Buyken  Maximilian (VPPL)" userId="6674c2ca-8f88-4e9a-a029-c4d0d5c5c3c7" providerId="ADAL" clId="{44B500CB-C1E5-418D-9BCB-E01CA21DD4A9}" dt="2023-11-06T10:39:10.926" v="397"/>
      <pc:docMkLst>
        <pc:docMk/>
      </pc:docMkLst>
      <pc:sldChg chg="addSp delSp modSp mod addCm modCm">
        <pc:chgData name="Buyken  Maximilian (VPPL)" userId="6674c2ca-8f88-4e9a-a029-c4d0d5c5c3c7" providerId="ADAL" clId="{44B500CB-C1E5-418D-9BCB-E01CA21DD4A9}" dt="2023-11-06T10:39:10.926" v="397"/>
        <pc:sldMkLst>
          <pc:docMk/>
          <pc:sldMk cId="210407677" sldId="2350"/>
        </pc:sldMkLst>
        <pc:spChg chg="mod">
          <ac:chgData name="Buyken  Maximilian (VPPL)" userId="6674c2ca-8f88-4e9a-a029-c4d0d5c5c3c7" providerId="ADAL" clId="{44B500CB-C1E5-418D-9BCB-E01CA21DD4A9}" dt="2023-11-06T10:21:40.974" v="349" actId="948"/>
          <ac:spMkLst>
            <pc:docMk/>
            <pc:sldMk cId="210407677" sldId="2350"/>
            <ac:spMk id="2" creationId="{52558334-A345-4D81-9F4E-D052229C97C2}"/>
          </ac:spMkLst>
        </pc:spChg>
        <pc:spChg chg="add del mod modVis">
          <ac:chgData name="Buyken  Maximilian (VPPL)" userId="6674c2ca-8f88-4e9a-a029-c4d0d5c5c3c7" providerId="ADAL" clId="{44B500CB-C1E5-418D-9BCB-E01CA21DD4A9}" dt="2023-11-06T10:21:41.008" v="372"/>
          <ac:spMkLst>
            <pc:docMk/>
            <pc:sldMk cId="210407677" sldId="2350"/>
            <ac:spMk id="3" creationId="{AB310B78-4103-E6C4-22EA-90195D5A8DF7}"/>
          </ac:spMkLst>
        </pc:spChg>
        <pc:spChg chg="mod">
          <ac:chgData name="Buyken  Maximilian (VPPL)" userId="6674c2ca-8f88-4e9a-a029-c4d0d5c5c3c7" providerId="ADAL" clId="{44B500CB-C1E5-418D-9BCB-E01CA21DD4A9}" dt="2023-11-06T10:38:38.337" v="396" actId="13926"/>
          <ac:spMkLst>
            <pc:docMk/>
            <pc:sldMk cId="210407677" sldId="2350"/>
            <ac:spMk id="5" creationId="{20CBB855-862A-446C-A75E-1B38AEA6B736}"/>
          </ac:spMkLst>
        </pc:spChg>
        <pc:graphicFrameChg chg="mod">
          <ac:chgData name="Buyken  Maximilian (VPPL)" userId="6674c2ca-8f88-4e9a-a029-c4d0d5c5c3c7" providerId="ADAL" clId="{44B500CB-C1E5-418D-9BCB-E01CA21DD4A9}" dt="2023-11-06T10:21:41.013" v="374"/>
          <ac:graphicFrameMkLst>
            <pc:docMk/>
            <pc:sldMk cId="210407677" sldId="2350"/>
            <ac:graphicFrameMk id="4" creationId="{1FE7B902-01C5-279F-716C-D4818AF88DEB}"/>
          </ac:graphicFrameMkLst>
        </pc:graphicFrameChg>
      </pc:sldChg>
      <pc:sldChg chg="modSp mod addCm modCm">
        <pc:chgData name="Buyken  Maximilian (VPPL)" userId="6674c2ca-8f88-4e9a-a029-c4d0d5c5c3c7" providerId="ADAL" clId="{44B500CB-C1E5-418D-9BCB-E01CA21DD4A9}" dt="2023-11-06T10:21:01.092" v="347" actId="20577"/>
        <pc:sldMkLst>
          <pc:docMk/>
          <pc:sldMk cId="1900787555" sldId="2369"/>
        </pc:sldMkLst>
        <pc:spChg chg="mod">
          <ac:chgData name="Buyken  Maximilian (VPPL)" userId="6674c2ca-8f88-4e9a-a029-c4d0d5c5c3c7" providerId="ADAL" clId="{44B500CB-C1E5-418D-9BCB-E01CA21DD4A9}" dt="2023-11-06T10:21:01.092" v="347" actId="20577"/>
          <ac:spMkLst>
            <pc:docMk/>
            <pc:sldMk cId="1900787555" sldId="2369"/>
            <ac:spMk id="3" creationId="{D248A836-D270-48AC-93BC-E789F2E8E734}"/>
          </ac:spMkLst>
        </pc:spChg>
      </pc:sldChg>
      <pc:sldChg chg="addSp delSp modSp mod addCm modCm">
        <pc:chgData name="Buyken  Maximilian (VPPL)" userId="6674c2ca-8f88-4e9a-a029-c4d0d5c5c3c7" providerId="ADAL" clId="{44B500CB-C1E5-418D-9BCB-E01CA21DD4A9}" dt="2023-11-06T10:34:45.024" v="386"/>
        <pc:sldMkLst>
          <pc:docMk/>
          <pc:sldMk cId="282434247" sldId="2395"/>
        </pc:sldMkLst>
        <pc:spChg chg="mod">
          <ac:chgData name="Buyken  Maximilian (VPPL)" userId="6674c2ca-8f88-4e9a-a029-c4d0d5c5c3c7" providerId="ADAL" clId="{44B500CB-C1E5-418D-9BCB-E01CA21DD4A9}" dt="2023-11-06T09:45:00.616" v="24" actId="948"/>
          <ac:spMkLst>
            <pc:docMk/>
            <pc:sldMk cId="282434247" sldId="2395"/>
            <ac:spMk id="2" creationId="{C2543CB6-7CCE-4092-94E2-1F9AF86C92CD}"/>
          </ac:spMkLst>
        </pc:spChg>
        <pc:spChg chg="mod">
          <ac:chgData name="Buyken  Maximilian (VPPL)" userId="6674c2ca-8f88-4e9a-a029-c4d0d5c5c3c7" providerId="ADAL" clId="{44B500CB-C1E5-418D-9BCB-E01CA21DD4A9}" dt="2023-11-06T09:45:54.302" v="52" actId="13926"/>
          <ac:spMkLst>
            <pc:docMk/>
            <pc:sldMk cId="282434247" sldId="2395"/>
            <ac:spMk id="3" creationId="{E9BBD3EE-C606-408E-8853-A8E4F45E02CE}"/>
          </ac:spMkLst>
        </pc:spChg>
        <pc:spChg chg="add del mod modVis">
          <ac:chgData name="Buyken  Maximilian (VPPL)" userId="6674c2ca-8f88-4e9a-a029-c4d0d5c5c3c7" providerId="ADAL" clId="{44B500CB-C1E5-418D-9BCB-E01CA21DD4A9}" dt="2023-11-06T09:45:00.663" v="47"/>
          <ac:spMkLst>
            <pc:docMk/>
            <pc:sldMk cId="282434247" sldId="2395"/>
            <ac:spMk id="7" creationId="{655BCF53-07FB-ABBB-3C2C-37F904022EE1}"/>
          </ac:spMkLst>
        </pc:spChg>
        <pc:graphicFrameChg chg="mod">
          <ac:chgData name="Buyken  Maximilian (VPPL)" userId="6674c2ca-8f88-4e9a-a029-c4d0d5c5c3c7" providerId="ADAL" clId="{44B500CB-C1E5-418D-9BCB-E01CA21DD4A9}" dt="2023-11-06T09:45:00.666" v="49"/>
          <ac:graphicFrameMkLst>
            <pc:docMk/>
            <pc:sldMk cId="282434247" sldId="2395"/>
            <ac:graphicFrameMk id="9" creationId="{8900C09A-BEC2-F04F-B75E-1370CB4A0336}"/>
          </ac:graphicFrameMkLst>
        </pc:graphicFrameChg>
      </pc:sldChg>
      <pc:sldChg chg="modSp mod addCm modCm">
        <pc:chgData name="Buyken  Maximilian (VPPL)" userId="6674c2ca-8f88-4e9a-a029-c4d0d5c5c3c7" providerId="ADAL" clId="{44B500CB-C1E5-418D-9BCB-E01CA21DD4A9}" dt="2023-11-06T10:35:20.401" v="391" actId="1036"/>
        <pc:sldMkLst>
          <pc:docMk/>
          <pc:sldMk cId="54911923" sldId="2398"/>
        </pc:sldMkLst>
        <pc:spChg chg="mod">
          <ac:chgData name="Buyken  Maximilian (VPPL)" userId="6674c2ca-8f88-4e9a-a029-c4d0d5c5c3c7" providerId="ADAL" clId="{44B500CB-C1E5-418D-9BCB-E01CA21DD4A9}" dt="2023-11-06T10:35:20.401" v="391" actId="1036"/>
          <ac:spMkLst>
            <pc:docMk/>
            <pc:sldMk cId="54911923" sldId="2398"/>
            <ac:spMk id="37" creationId="{166FA689-72C3-40C8-B811-164178E71FB6}"/>
          </ac:spMkLst>
        </pc:spChg>
      </pc:sldChg>
      <pc:sldChg chg="modSp mod addCm modCm">
        <pc:chgData name="Buyken  Maximilian (VPPL)" userId="6674c2ca-8f88-4e9a-a029-c4d0d5c5c3c7" providerId="ADAL" clId="{44B500CB-C1E5-418D-9BCB-E01CA21DD4A9}" dt="2023-11-06T10:36:08.645" v="392"/>
        <pc:sldMkLst>
          <pc:docMk/>
          <pc:sldMk cId="1257036896" sldId="2421"/>
        </pc:sldMkLst>
        <pc:spChg chg="mod">
          <ac:chgData name="Buyken  Maximilian (VPPL)" userId="6674c2ca-8f88-4e9a-a029-c4d0d5c5c3c7" providerId="ADAL" clId="{44B500CB-C1E5-418D-9BCB-E01CA21DD4A9}" dt="2023-11-06T09:50:46.334" v="59" actId="13926"/>
          <ac:spMkLst>
            <pc:docMk/>
            <pc:sldMk cId="1257036896" sldId="2421"/>
            <ac:spMk id="9" creationId="{9209AE63-3AA5-4052-B998-05A99361B659}"/>
          </ac:spMkLst>
        </pc:spChg>
      </pc:sldChg>
      <pc:sldChg chg="modSp mod">
        <pc:chgData name="Buyken  Maximilian (VPPL)" userId="6674c2ca-8f88-4e9a-a029-c4d0d5c5c3c7" providerId="ADAL" clId="{44B500CB-C1E5-418D-9BCB-E01CA21DD4A9}" dt="2023-11-06T08:33:20.892" v="18" actId="20577"/>
        <pc:sldMkLst>
          <pc:docMk/>
          <pc:sldMk cId="1289117044" sldId="2431"/>
        </pc:sldMkLst>
        <pc:spChg chg="mod">
          <ac:chgData name="Buyken  Maximilian (VPPL)" userId="6674c2ca-8f88-4e9a-a029-c4d0d5c5c3c7" providerId="ADAL" clId="{44B500CB-C1E5-418D-9BCB-E01CA21DD4A9}" dt="2023-11-06T08:33:20.892" v="18" actId="20577"/>
          <ac:spMkLst>
            <pc:docMk/>
            <pc:sldMk cId="1289117044" sldId="2431"/>
            <ac:spMk id="16" creationId="{610C0BC9-B539-4F72-A018-A02A8E404895}"/>
          </ac:spMkLst>
        </pc:spChg>
      </pc:sldChg>
      <pc:sldChg chg="modSp mod addCm">
        <pc:chgData name="Buyken  Maximilian (VPPL)" userId="6674c2ca-8f88-4e9a-a029-c4d0d5c5c3c7" providerId="ADAL" clId="{44B500CB-C1E5-418D-9BCB-E01CA21DD4A9}" dt="2023-11-06T10:27:11.532" v="385"/>
        <pc:sldMkLst>
          <pc:docMk/>
          <pc:sldMk cId="4240256703" sldId="2434"/>
        </pc:sldMkLst>
        <pc:graphicFrameChg chg="modGraphic">
          <ac:chgData name="Buyken  Maximilian (VPPL)" userId="6674c2ca-8f88-4e9a-a029-c4d0d5c5c3c7" providerId="ADAL" clId="{44B500CB-C1E5-418D-9BCB-E01CA21DD4A9}" dt="2023-11-06T10:24:54.121" v="383" actId="13926"/>
          <ac:graphicFrameMkLst>
            <pc:docMk/>
            <pc:sldMk cId="4240256703" sldId="2434"/>
            <ac:graphicFrameMk id="10" creationId="{0EF152D8-7E22-405A-9145-E64DA0C4FFB0}"/>
          </ac:graphicFrameMkLst>
        </pc:graphicFrameChg>
      </pc:sldChg>
      <pc:sldChg chg="modSp mod addCm">
        <pc:chgData name="Buyken  Maximilian (VPPL)" userId="6674c2ca-8f88-4e9a-a029-c4d0d5c5c3c7" providerId="ADAL" clId="{44B500CB-C1E5-418D-9BCB-E01CA21DD4A9}" dt="2023-11-06T10:38:18.027" v="394"/>
        <pc:sldMkLst>
          <pc:docMk/>
          <pc:sldMk cId="115161503" sldId="2437"/>
        </pc:sldMkLst>
        <pc:spChg chg="mod">
          <ac:chgData name="Buyken  Maximilian (VPPL)" userId="6674c2ca-8f88-4e9a-a029-c4d0d5c5c3c7" providerId="ADAL" clId="{44B500CB-C1E5-418D-9BCB-E01CA21DD4A9}" dt="2023-11-06T10:19:11.698" v="333" actId="13926"/>
          <ac:spMkLst>
            <pc:docMk/>
            <pc:sldMk cId="115161503" sldId="2437"/>
            <ac:spMk id="10" creationId="{00000000-0000-0000-0000-000000000000}"/>
          </ac:spMkLst>
        </pc:spChg>
      </pc:sldChg>
      <pc:sldChg chg="addCm">
        <pc:chgData name="Buyken  Maximilian (VPPL)" userId="6674c2ca-8f88-4e9a-a029-c4d0d5c5c3c7" providerId="ADAL" clId="{44B500CB-C1E5-418D-9BCB-E01CA21DD4A9}" dt="2023-11-06T10:07:57.400" v="330"/>
        <pc:sldMkLst>
          <pc:docMk/>
          <pc:sldMk cId="3420152249" sldId="2442"/>
        </pc:sldMkLst>
      </pc:sldChg>
      <pc:sldChg chg="addSp modSp mod addCm modCm">
        <pc:chgData name="Buyken  Maximilian (VPPL)" userId="6674c2ca-8f88-4e9a-a029-c4d0d5c5c3c7" providerId="ADAL" clId="{44B500CB-C1E5-418D-9BCB-E01CA21DD4A9}" dt="2023-11-06T10:02:23.834" v="320"/>
        <pc:sldMkLst>
          <pc:docMk/>
          <pc:sldMk cId="3191170877" sldId="2443"/>
        </pc:sldMkLst>
        <pc:spChg chg="mod">
          <ac:chgData name="Buyken  Maximilian (VPPL)" userId="6674c2ca-8f88-4e9a-a029-c4d0d5c5c3c7" providerId="ADAL" clId="{44B500CB-C1E5-418D-9BCB-E01CA21DD4A9}" dt="2023-11-06T10:01:04.521" v="306" actId="313"/>
          <ac:spMkLst>
            <pc:docMk/>
            <pc:sldMk cId="3191170877" sldId="2443"/>
            <ac:spMk id="3" creationId="{74ABCEC1-985B-1C66-2D33-43D74A38B600}"/>
          </ac:spMkLst>
        </pc:spChg>
        <pc:spChg chg="add mod">
          <ac:chgData name="Buyken  Maximilian (VPPL)" userId="6674c2ca-8f88-4e9a-a029-c4d0d5c5c3c7" providerId="ADAL" clId="{44B500CB-C1E5-418D-9BCB-E01CA21DD4A9}" dt="2023-11-06T10:01:55.036" v="315" actId="255"/>
          <ac:spMkLst>
            <pc:docMk/>
            <pc:sldMk cId="3191170877" sldId="2443"/>
            <ac:spMk id="10" creationId="{EE1D506E-5D02-8A5C-4A4B-3A6A063A5333}"/>
          </ac:spMkLst>
        </pc:spChg>
        <pc:spChg chg="add mod">
          <ac:chgData name="Buyken  Maximilian (VPPL)" userId="6674c2ca-8f88-4e9a-a029-c4d0d5c5c3c7" providerId="ADAL" clId="{44B500CB-C1E5-418D-9BCB-E01CA21DD4A9}" dt="2023-11-06T10:02:09.291" v="319" actId="20577"/>
          <ac:spMkLst>
            <pc:docMk/>
            <pc:sldMk cId="3191170877" sldId="2443"/>
            <ac:spMk id="11" creationId="{440EE002-4B69-87FC-507F-89631202D4D4}"/>
          </ac:spMkLst>
        </pc:spChg>
      </pc:sldChg>
      <pc:sldChg chg="modSp mod">
        <pc:chgData name="Buyken  Maximilian (VPPL)" userId="6674c2ca-8f88-4e9a-a029-c4d0d5c5c3c7" providerId="ADAL" clId="{44B500CB-C1E5-418D-9BCB-E01CA21DD4A9}" dt="2023-11-06T09:52:55.170" v="64" actId="114"/>
        <pc:sldMkLst>
          <pc:docMk/>
          <pc:sldMk cId="3213314599" sldId="2444"/>
        </pc:sldMkLst>
        <pc:spChg chg="mod">
          <ac:chgData name="Buyken  Maximilian (VPPL)" userId="6674c2ca-8f88-4e9a-a029-c4d0d5c5c3c7" providerId="ADAL" clId="{44B500CB-C1E5-418D-9BCB-E01CA21DD4A9}" dt="2023-11-06T09:52:55.170" v="64" actId="114"/>
          <ac:spMkLst>
            <pc:docMk/>
            <pc:sldMk cId="3213314599" sldId="2444"/>
            <ac:spMk id="3" creationId="{00000000-0000-0000-0000-000000000000}"/>
          </ac:spMkLst>
        </pc:spChg>
      </pc:sldChg>
      <pc:sldChg chg="modSp mod addCm modCm">
        <pc:chgData name="Buyken  Maximilian (VPPL)" userId="6674c2ca-8f88-4e9a-a029-c4d0d5c5c3c7" providerId="ADAL" clId="{44B500CB-C1E5-418D-9BCB-E01CA21DD4A9}" dt="2023-11-06T10:36:36.481" v="393"/>
        <pc:sldMkLst>
          <pc:docMk/>
          <pc:sldMk cId="687061124" sldId="2445"/>
        </pc:sldMkLst>
        <pc:spChg chg="mod">
          <ac:chgData name="Buyken  Maximilian (VPPL)" userId="6674c2ca-8f88-4e9a-a029-c4d0d5c5c3c7" providerId="ADAL" clId="{44B500CB-C1E5-418D-9BCB-E01CA21DD4A9}" dt="2023-11-06T09:58:32.546" v="295" actId="13926"/>
          <ac:spMkLst>
            <pc:docMk/>
            <pc:sldMk cId="687061124" sldId="2445"/>
            <ac:spMk id="3" creationId="{00000000-0000-0000-0000-000000000000}"/>
          </ac:spMkLst>
        </pc:spChg>
      </pc:sldChg>
      <pc:sldChg chg="modSp mod addCm">
        <pc:chgData name="Buyken  Maximilian (VPPL)" userId="6674c2ca-8f88-4e9a-a029-c4d0d5c5c3c7" providerId="ADAL" clId="{44B500CB-C1E5-418D-9BCB-E01CA21DD4A9}" dt="2023-11-06T10:07:16.163" v="329" actId="13926"/>
        <pc:sldMkLst>
          <pc:docMk/>
          <pc:sldMk cId="645604469" sldId="2446"/>
        </pc:sldMkLst>
        <pc:spChg chg="mod">
          <ac:chgData name="Buyken  Maximilian (VPPL)" userId="6674c2ca-8f88-4e9a-a029-c4d0d5c5c3c7" providerId="ADAL" clId="{44B500CB-C1E5-418D-9BCB-E01CA21DD4A9}" dt="2023-11-06T10:07:16.163" v="329" actId="13926"/>
          <ac:spMkLst>
            <pc:docMk/>
            <pc:sldMk cId="645604469" sldId="2446"/>
            <ac:spMk id="3" creationId="{CD164694-0894-5683-F43E-332E0F82F468}"/>
          </ac:spMkLst>
        </pc:spChg>
      </pc:sldChg>
      <pc:sldChg chg="modSp mod addCm">
        <pc:chgData name="Buyken  Maximilian (VPPL)" userId="6674c2ca-8f88-4e9a-a029-c4d0d5c5c3c7" providerId="ADAL" clId="{44B500CB-C1E5-418D-9BCB-E01CA21DD4A9}" dt="2023-11-06T10:05:07.397" v="324"/>
        <pc:sldMkLst>
          <pc:docMk/>
          <pc:sldMk cId="217941384" sldId="2447"/>
        </pc:sldMkLst>
        <pc:spChg chg="mod">
          <ac:chgData name="Buyken  Maximilian (VPPL)" userId="6674c2ca-8f88-4e9a-a029-c4d0d5c5c3c7" providerId="ADAL" clId="{44B500CB-C1E5-418D-9BCB-E01CA21DD4A9}" dt="2023-11-06T10:04:38.182" v="323" actId="13926"/>
          <ac:spMkLst>
            <pc:docMk/>
            <pc:sldMk cId="217941384" sldId="2447"/>
            <ac:spMk id="3" creationId="{00000000-0000-0000-0000-000000000000}"/>
          </ac:spMkLst>
        </pc:spChg>
      </pc:sldChg>
      <pc:sldChg chg="modSp mod addCm">
        <pc:chgData name="Buyken  Maximilian (VPPL)" userId="6674c2ca-8f88-4e9a-a029-c4d0d5c5c3c7" providerId="ADAL" clId="{44B500CB-C1E5-418D-9BCB-E01CA21DD4A9}" dt="2023-11-06T10:24:32.876" v="381"/>
        <pc:sldMkLst>
          <pc:docMk/>
          <pc:sldMk cId="1765676676" sldId="2448"/>
        </pc:sldMkLst>
        <pc:spChg chg="mod">
          <ac:chgData name="Buyken  Maximilian (VPPL)" userId="6674c2ca-8f88-4e9a-a029-c4d0d5c5c3c7" providerId="ADAL" clId="{44B500CB-C1E5-418D-9BCB-E01CA21DD4A9}" dt="2023-11-06T08:32:09.190" v="17" actId="13926"/>
          <ac:spMkLst>
            <pc:docMk/>
            <pc:sldMk cId="1765676676" sldId="2448"/>
            <ac:spMk id="3" creationId="{E9BBD3EE-C606-408E-8853-A8E4F45E02CE}"/>
          </ac:spMkLst>
        </pc:spChg>
      </pc:sldChg>
    </pc:docChg>
  </pc:docChgLst>
  <pc:docChgLst>
    <pc:chgData name="van Leeuwen  Sara (VPPL)" userId="7a5f1df4-0dd0-4c9e-a72f-a035cf318af6" providerId="ADAL" clId="{AEFF7DEE-6884-445A-9120-7BF993FA8936}"/>
    <pc:docChg chg="undo custSel modSld replTag">
      <pc:chgData name="van Leeuwen  Sara (VPPL)" userId="7a5f1df4-0dd0-4c9e-a72f-a035cf318af6" providerId="ADAL" clId="{AEFF7DEE-6884-445A-9120-7BF993FA8936}" dt="2023-11-17T10:46:27.909" v="1087"/>
      <pc:docMkLst>
        <pc:docMk/>
      </pc:docMkLst>
      <pc:sldChg chg="addSp delSp modSp mod delCm modCm">
        <pc:chgData name="van Leeuwen  Sara (VPPL)" userId="7a5f1df4-0dd0-4c9e-a72f-a035cf318af6" providerId="ADAL" clId="{AEFF7DEE-6884-445A-9120-7BF993FA8936}" dt="2023-11-17T09:54:11.294" v="915" actId="6549"/>
        <pc:sldMkLst>
          <pc:docMk/>
          <pc:sldMk cId="210407677" sldId="2350"/>
        </pc:sldMkLst>
        <pc:spChg chg="mod">
          <ac:chgData name="van Leeuwen  Sara (VPPL)" userId="7a5f1df4-0dd0-4c9e-a72f-a035cf318af6" providerId="ADAL" clId="{AEFF7DEE-6884-445A-9120-7BF993FA8936}" dt="2023-11-17T08:46:07.395" v="851" actId="948"/>
          <ac:spMkLst>
            <pc:docMk/>
            <pc:sldMk cId="210407677" sldId="2350"/>
            <ac:spMk id="2" creationId="{52558334-A345-4D81-9F4E-D052229C97C2}"/>
          </ac:spMkLst>
        </pc:spChg>
        <pc:spChg chg="add mod">
          <ac:chgData name="van Leeuwen  Sara (VPPL)" userId="7a5f1df4-0dd0-4c9e-a72f-a035cf318af6" providerId="ADAL" clId="{AEFF7DEE-6884-445A-9120-7BF993FA8936}" dt="2023-11-17T08:45:32.170" v="448"/>
          <ac:spMkLst>
            <pc:docMk/>
            <pc:sldMk cId="210407677" sldId="2350"/>
            <ac:spMk id="3" creationId="{723BB8B0-3216-5F05-ADD6-9B73AE911F92}"/>
          </ac:spMkLst>
        </pc:spChg>
        <pc:spChg chg="mod">
          <ac:chgData name="van Leeuwen  Sara (VPPL)" userId="7a5f1df4-0dd0-4c9e-a72f-a035cf318af6" providerId="ADAL" clId="{AEFF7DEE-6884-445A-9120-7BF993FA8936}" dt="2023-11-17T09:54:11.294" v="915" actId="6549"/>
          <ac:spMkLst>
            <pc:docMk/>
            <pc:sldMk cId="210407677" sldId="2350"/>
            <ac:spMk id="5" creationId="{20CBB855-862A-446C-A75E-1B38AEA6B736}"/>
          </ac:spMkLst>
        </pc:spChg>
        <pc:spChg chg="add del mod modVis">
          <ac:chgData name="van Leeuwen  Sara (VPPL)" userId="7a5f1df4-0dd0-4c9e-a72f-a035cf318af6" providerId="ADAL" clId="{AEFF7DEE-6884-445A-9120-7BF993FA8936}" dt="2023-11-17T08:45:39.287" v="477"/>
          <ac:spMkLst>
            <pc:docMk/>
            <pc:sldMk cId="210407677" sldId="2350"/>
            <ac:spMk id="6" creationId="{C726DD92-44E1-4B4A-683A-4C61395015EE}"/>
          </ac:spMkLst>
        </pc:spChg>
        <pc:spChg chg="add del mod modVis">
          <ac:chgData name="van Leeuwen  Sara (VPPL)" userId="7a5f1df4-0dd0-4c9e-a72f-a035cf318af6" providerId="ADAL" clId="{AEFF7DEE-6884-445A-9120-7BF993FA8936}" dt="2023-11-17T08:45:40.296" v="505"/>
          <ac:spMkLst>
            <pc:docMk/>
            <pc:sldMk cId="210407677" sldId="2350"/>
            <ac:spMk id="7" creationId="{80D4A5C2-CEB9-8AF6-D333-F1BDC96A07A7}"/>
          </ac:spMkLst>
        </pc:spChg>
        <pc:spChg chg="add del mod modVis">
          <ac:chgData name="van Leeuwen  Sara (VPPL)" userId="7a5f1df4-0dd0-4c9e-a72f-a035cf318af6" providerId="ADAL" clId="{AEFF7DEE-6884-445A-9120-7BF993FA8936}" dt="2023-11-17T08:45:41.022" v="534"/>
          <ac:spMkLst>
            <pc:docMk/>
            <pc:sldMk cId="210407677" sldId="2350"/>
            <ac:spMk id="8" creationId="{979CF875-3F49-9481-6E42-8002B8B41118}"/>
          </ac:spMkLst>
        </pc:spChg>
        <pc:spChg chg="add del mod modVis">
          <ac:chgData name="van Leeuwen  Sara (VPPL)" userId="7a5f1df4-0dd0-4c9e-a72f-a035cf318af6" providerId="ADAL" clId="{AEFF7DEE-6884-445A-9120-7BF993FA8936}" dt="2023-11-17T08:45:42.189" v="565"/>
          <ac:spMkLst>
            <pc:docMk/>
            <pc:sldMk cId="210407677" sldId="2350"/>
            <ac:spMk id="9" creationId="{968A3246-3905-10D9-422C-840FA8857F25}"/>
          </ac:spMkLst>
        </pc:spChg>
        <pc:spChg chg="add del mod modVis">
          <ac:chgData name="van Leeuwen  Sara (VPPL)" userId="7a5f1df4-0dd0-4c9e-a72f-a035cf318af6" providerId="ADAL" clId="{AEFF7DEE-6884-445A-9120-7BF993FA8936}" dt="2023-11-17T08:45:45.690" v="598"/>
          <ac:spMkLst>
            <pc:docMk/>
            <pc:sldMk cId="210407677" sldId="2350"/>
            <ac:spMk id="10" creationId="{ED1827FC-AFF1-E4AB-4E58-F8A103FAE071}"/>
          </ac:spMkLst>
        </pc:spChg>
        <pc:spChg chg="add del mod modVis">
          <ac:chgData name="van Leeuwen  Sara (VPPL)" userId="7a5f1df4-0dd0-4c9e-a72f-a035cf318af6" providerId="ADAL" clId="{AEFF7DEE-6884-445A-9120-7BF993FA8936}" dt="2023-11-17T08:45:47.886" v="634"/>
          <ac:spMkLst>
            <pc:docMk/>
            <pc:sldMk cId="210407677" sldId="2350"/>
            <ac:spMk id="11" creationId="{E87B1AE8-D12C-00FD-6C85-E0B01B74B4AF}"/>
          </ac:spMkLst>
        </pc:spChg>
        <pc:spChg chg="add del mod modVis">
          <ac:chgData name="van Leeuwen  Sara (VPPL)" userId="7a5f1df4-0dd0-4c9e-a72f-a035cf318af6" providerId="ADAL" clId="{AEFF7DEE-6884-445A-9120-7BF993FA8936}" dt="2023-11-17T08:45:51.856" v="665"/>
          <ac:spMkLst>
            <pc:docMk/>
            <pc:sldMk cId="210407677" sldId="2350"/>
            <ac:spMk id="12" creationId="{0D9EBA42-80F9-7BEF-D931-96DF9B54C91B}"/>
          </ac:spMkLst>
        </pc:spChg>
        <pc:spChg chg="add del mod modVis">
          <ac:chgData name="van Leeuwen  Sara (VPPL)" userId="7a5f1df4-0dd0-4c9e-a72f-a035cf318af6" providerId="ADAL" clId="{AEFF7DEE-6884-445A-9120-7BF993FA8936}" dt="2023-11-17T08:45:53.732" v="696"/>
          <ac:spMkLst>
            <pc:docMk/>
            <pc:sldMk cId="210407677" sldId="2350"/>
            <ac:spMk id="13" creationId="{AD0AE5DE-8B86-2F7E-F283-6AEF8AE80340}"/>
          </ac:spMkLst>
        </pc:spChg>
        <pc:spChg chg="add del mod modVis">
          <ac:chgData name="van Leeuwen  Sara (VPPL)" userId="7a5f1df4-0dd0-4c9e-a72f-a035cf318af6" providerId="ADAL" clId="{AEFF7DEE-6884-445A-9120-7BF993FA8936}" dt="2023-11-17T08:45:57.297" v="726"/>
          <ac:spMkLst>
            <pc:docMk/>
            <pc:sldMk cId="210407677" sldId="2350"/>
            <ac:spMk id="14" creationId="{CA3B824D-EC54-2D72-8522-8CEC6E09810A}"/>
          </ac:spMkLst>
        </pc:spChg>
        <pc:spChg chg="add del mod modVis">
          <ac:chgData name="van Leeuwen  Sara (VPPL)" userId="7a5f1df4-0dd0-4c9e-a72f-a035cf318af6" providerId="ADAL" clId="{AEFF7DEE-6884-445A-9120-7BF993FA8936}" dt="2023-11-17T08:45:58.084" v="753"/>
          <ac:spMkLst>
            <pc:docMk/>
            <pc:sldMk cId="210407677" sldId="2350"/>
            <ac:spMk id="15" creationId="{37F3BA4D-6D22-775F-2C9B-9C63607FA47A}"/>
          </ac:spMkLst>
        </pc:spChg>
        <pc:spChg chg="add del mod modVis">
          <ac:chgData name="van Leeuwen  Sara (VPPL)" userId="7a5f1df4-0dd0-4c9e-a72f-a035cf318af6" providerId="ADAL" clId="{AEFF7DEE-6884-445A-9120-7BF993FA8936}" dt="2023-11-17T08:45:59.250" v="787"/>
          <ac:spMkLst>
            <pc:docMk/>
            <pc:sldMk cId="210407677" sldId="2350"/>
            <ac:spMk id="16" creationId="{0FB51D65-57A3-A796-41C8-EFE6440AAC1C}"/>
          </ac:spMkLst>
        </pc:spChg>
        <pc:spChg chg="add del mod modVis">
          <ac:chgData name="van Leeuwen  Sara (VPPL)" userId="7a5f1df4-0dd0-4c9e-a72f-a035cf318af6" providerId="ADAL" clId="{AEFF7DEE-6884-445A-9120-7BF993FA8936}" dt="2023-11-17T08:46:00.006" v="816"/>
          <ac:spMkLst>
            <pc:docMk/>
            <pc:sldMk cId="210407677" sldId="2350"/>
            <ac:spMk id="17" creationId="{27C3EAE1-7711-18FE-BA0C-1C1F93080F7C}"/>
          </ac:spMkLst>
        </pc:spChg>
        <pc:spChg chg="add del mod modVis">
          <ac:chgData name="van Leeuwen  Sara (VPPL)" userId="7a5f1df4-0dd0-4c9e-a72f-a035cf318af6" providerId="ADAL" clId="{AEFF7DEE-6884-445A-9120-7BF993FA8936}" dt="2023-11-17T08:46:01.385" v="846"/>
          <ac:spMkLst>
            <pc:docMk/>
            <pc:sldMk cId="210407677" sldId="2350"/>
            <ac:spMk id="18" creationId="{74E71C0E-4A77-A470-C0C1-BA46C3FA42AC}"/>
          </ac:spMkLst>
        </pc:spChg>
        <pc:spChg chg="add del mod modVis">
          <ac:chgData name="van Leeuwen  Sara (VPPL)" userId="7a5f1df4-0dd0-4c9e-a72f-a035cf318af6" providerId="ADAL" clId="{AEFF7DEE-6884-445A-9120-7BF993FA8936}" dt="2023-11-17T08:46:07.411" v="874"/>
          <ac:spMkLst>
            <pc:docMk/>
            <pc:sldMk cId="210407677" sldId="2350"/>
            <ac:spMk id="19" creationId="{2A3BD6A5-5190-55E6-9803-1C4CE6E63399}"/>
          </ac:spMkLst>
        </pc:spChg>
        <pc:graphicFrameChg chg="mod">
          <ac:chgData name="van Leeuwen  Sara (VPPL)" userId="7a5f1df4-0dd0-4c9e-a72f-a035cf318af6" providerId="ADAL" clId="{AEFF7DEE-6884-445A-9120-7BF993FA8936}" dt="2023-11-17T08:46:07.411" v="876"/>
          <ac:graphicFrameMkLst>
            <pc:docMk/>
            <pc:sldMk cId="210407677" sldId="2350"/>
            <ac:graphicFrameMk id="4" creationId="{1FE7B902-01C5-279F-716C-D4818AF88DEB}"/>
          </ac:graphicFrameMkLst>
        </pc:graphicFrameChg>
      </pc:sldChg>
      <pc:sldChg chg="modSp mod delCm modCm">
        <pc:chgData name="van Leeuwen  Sara (VPPL)" userId="7a5f1df4-0dd0-4c9e-a72f-a035cf318af6" providerId="ADAL" clId="{AEFF7DEE-6884-445A-9120-7BF993FA8936}" dt="2023-11-17T08:45:03.172" v="447" actId="6549"/>
        <pc:sldMkLst>
          <pc:docMk/>
          <pc:sldMk cId="1900787555" sldId="2369"/>
        </pc:sldMkLst>
        <pc:spChg chg="mod">
          <ac:chgData name="van Leeuwen  Sara (VPPL)" userId="7a5f1df4-0dd0-4c9e-a72f-a035cf318af6" providerId="ADAL" clId="{AEFF7DEE-6884-445A-9120-7BF993FA8936}" dt="2023-11-17T08:45:03.172" v="447" actId="6549"/>
          <ac:spMkLst>
            <pc:docMk/>
            <pc:sldMk cId="1900787555" sldId="2369"/>
            <ac:spMk id="3" creationId="{D248A836-D270-48AC-93BC-E789F2E8E734}"/>
          </ac:spMkLst>
        </pc:spChg>
      </pc:sldChg>
      <pc:sldChg chg="addSp delSp modSp mod delCm modCm">
        <pc:chgData name="van Leeuwen  Sara (VPPL)" userId="7a5f1df4-0dd0-4c9e-a72f-a035cf318af6" providerId="ADAL" clId="{AEFF7DEE-6884-445A-9120-7BF993FA8936}" dt="2023-11-17T08:20:53.322" v="230"/>
        <pc:sldMkLst>
          <pc:docMk/>
          <pc:sldMk cId="282434247" sldId="2395"/>
        </pc:sldMkLst>
        <pc:spChg chg="mod">
          <ac:chgData name="van Leeuwen  Sara (VPPL)" userId="7a5f1df4-0dd0-4c9e-a72f-a035cf318af6" providerId="ADAL" clId="{AEFF7DEE-6884-445A-9120-7BF993FA8936}" dt="2023-11-17T08:12:24.633" v="148" actId="948"/>
          <ac:spMkLst>
            <pc:docMk/>
            <pc:sldMk cId="282434247" sldId="2395"/>
            <ac:spMk id="2" creationId="{C2543CB6-7CCE-4092-94E2-1F9AF86C92CD}"/>
          </ac:spMkLst>
        </pc:spChg>
        <pc:spChg chg="mod">
          <ac:chgData name="van Leeuwen  Sara (VPPL)" userId="7a5f1df4-0dd0-4c9e-a72f-a035cf318af6" providerId="ADAL" clId="{AEFF7DEE-6884-445A-9120-7BF993FA8936}" dt="2023-11-17T08:20:50.692" v="229" actId="13926"/>
          <ac:spMkLst>
            <pc:docMk/>
            <pc:sldMk cId="282434247" sldId="2395"/>
            <ac:spMk id="3" creationId="{E9BBD3EE-C606-408E-8853-A8E4F45E02CE}"/>
          </ac:spMkLst>
        </pc:spChg>
        <pc:spChg chg="add del mod modVis">
          <ac:chgData name="van Leeuwen  Sara (VPPL)" userId="7a5f1df4-0dd0-4c9e-a72f-a035cf318af6" providerId="ADAL" clId="{AEFF7DEE-6884-445A-9120-7BF993FA8936}" dt="2023-11-17T08:12:22.110" v="144"/>
          <ac:spMkLst>
            <pc:docMk/>
            <pc:sldMk cId="282434247" sldId="2395"/>
            <ac:spMk id="7" creationId="{BC4B804B-4911-BF99-CBBF-42D5DFB4FD97}"/>
          </ac:spMkLst>
        </pc:spChg>
        <pc:spChg chg="add del mod modVis">
          <ac:chgData name="van Leeuwen  Sara (VPPL)" userId="7a5f1df4-0dd0-4c9e-a72f-a035cf318af6" providerId="ADAL" clId="{AEFF7DEE-6884-445A-9120-7BF993FA8936}" dt="2023-11-17T08:12:24.649" v="171"/>
          <ac:spMkLst>
            <pc:docMk/>
            <pc:sldMk cId="282434247" sldId="2395"/>
            <ac:spMk id="8" creationId="{37680A33-C9DB-C581-9A23-41CC4DA7CA2B}"/>
          </ac:spMkLst>
        </pc:spChg>
        <pc:graphicFrameChg chg="mod">
          <ac:chgData name="van Leeuwen  Sara (VPPL)" userId="7a5f1df4-0dd0-4c9e-a72f-a035cf318af6" providerId="ADAL" clId="{AEFF7DEE-6884-445A-9120-7BF993FA8936}" dt="2023-11-17T08:12:24.649" v="173"/>
          <ac:graphicFrameMkLst>
            <pc:docMk/>
            <pc:sldMk cId="282434247" sldId="2395"/>
            <ac:graphicFrameMk id="9" creationId="{8900C09A-BEC2-F04F-B75E-1370CB4A0336}"/>
          </ac:graphicFrameMkLst>
        </pc:graphicFrameChg>
      </pc:sldChg>
      <pc:sldChg chg="modSp mod delCm modCm">
        <pc:chgData name="van Leeuwen  Sara (VPPL)" userId="7a5f1df4-0dd0-4c9e-a72f-a035cf318af6" providerId="ADAL" clId="{AEFF7DEE-6884-445A-9120-7BF993FA8936}" dt="2023-11-17T10:40:53.313" v="921" actId="20577"/>
        <pc:sldMkLst>
          <pc:docMk/>
          <pc:sldMk cId="54911923" sldId="2398"/>
        </pc:sldMkLst>
        <pc:spChg chg="mod">
          <ac:chgData name="van Leeuwen  Sara (VPPL)" userId="7a5f1df4-0dd0-4c9e-a72f-a035cf318af6" providerId="ADAL" clId="{AEFF7DEE-6884-445A-9120-7BF993FA8936}" dt="2023-11-17T10:40:53.313" v="921" actId="20577"/>
          <ac:spMkLst>
            <pc:docMk/>
            <pc:sldMk cId="54911923" sldId="2398"/>
            <ac:spMk id="37" creationId="{166FA689-72C3-40C8-B811-164178E71FB6}"/>
          </ac:spMkLst>
        </pc:spChg>
      </pc:sldChg>
      <pc:sldChg chg="addSp delSp modSp mod delCm">
        <pc:chgData name="van Leeuwen  Sara (VPPL)" userId="7a5f1df4-0dd0-4c9e-a72f-a035cf318af6" providerId="ADAL" clId="{AEFF7DEE-6884-445A-9120-7BF993FA8936}" dt="2023-11-17T10:45:57.200" v="949"/>
        <pc:sldMkLst>
          <pc:docMk/>
          <pc:sldMk cId="1257036896" sldId="2421"/>
        </pc:sldMkLst>
        <pc:spChg chg="add del mod modVis">
          <ac:chgData name="van Leeuwen  Sara (VPPL)" userId="7a5f1df4-0dd0-4c9e-a72f-a035cf318af6" providerId="ADAL" clId="{AEFF7DEE-6884-445A-9120-7BF993FA8936}" dt="2023-11-17T10:45:57.200" v="947"/>
          <ac:spMkLst>
            <pc:docMk/>
            <pc:sldMk cId="1257036896" sldId="2421"/>
            <ac:spMk id="2" creationId="{B1B08A57-B859-438E-8CCC-FAAC51838622}"/>
          </ac:spMkLst>
        </pc:spChg>
        <pc:spChg chg="mod">
          <ac:chgData name="van Leeuwen  Sara (VPPL)" userId="7a5f1df4-0dd0-4c9e-a72f-a035cf318af6" providerId="ADAL" clId="{AEFF7DEE-6884-445A-9120-7BF993FA8936}" dt="2023-11-17T10:45:57.169" v="924" actId="948"/>
          <ac:spMkLst>
            <pc:docMk/>
            <pc:sldMk cId="1257036896" sldId="2421"/>
            <ac:spMk id="8" creationId="{7615A340-A42F-4355-AF9F-1FA9C8C871B5}"/>
          </ac:spMkLst>
        </pc:spChg>
        <pc:spChg chg="mod">
          <ac:chgData name="van Leeuwen  Sara (VPPL)" userId="7a5f1df4-0dd0-4c9e-a72f-a035cf318af6" providerId="ADAL" clId="{AEFF7DEE-6884-445A-9120-7BF993FA8936}" dt="2023-11-17T10:34:19.412" v="917" actId="13926"/>
          <ac:spMkLst>
            <pc:docMk/>
            <pc:sldMk cId="1257036896" sldId="2421"/>
            <ac:spMk id="9" creationId="{9209AE63-3AA5-4052-B998-05A99361B659}"/>
          </ac:spMkLst>
        </pc:spChg>
        <pc:graphicFrameChg chg="mod">
          <ac:chgData name="van Leeuwen  Sara (VPPL)" userId="7a5f1df4-0dd0-4c9e-a72f-a035cf318af6" providerId="ADAL" clId="{AEFF7DEE-6884-445A-9120-7BF993FA8936}" dt="2023-11-17T10:45:57.200" v="949"/>
          <ac:graphicFrameMkLst>
            <pc:docMk/>
            <pc:sldMk cId="1257036896" sldId="2421"/>
            <ac:graphicFrameMk id="3" creationId="{5755A7B0-3099-8ED9-DD67-7FDA65BEA332}"/>
          </ac:graphicFrameMkLst>
        </pc:graphicFrameChg>
      </pc:sldChg>
      <pc:sldChg chg="modSp mod delCm modCm">
        <pc:chgData name="van Leeuwen  Sara (VPPL)" userId="7a5f1df4-0dd0-4c9e-a72f-a035cf318af6" providerId="ADAL" clId="{AEFF7DEE-6884-445A-9120-7BF993FA8936}" dt="2023-11-17T08:12:01.111" v="103" actId="33524"/>
        <pc:sldMkLst>
          <pc:docMk/>
          <pc:sldMk cId="4240256703" sldId="2434"/>
        </pc:sldMkLst>
        <pc:graphicFrameChg chg="modGraphic">
          <ac:chgData name="van Leeuwen  Sara (VPPL)" userId="7a5f1df4-0dd0-4c9e-a72f-a035cf318af6" providerId="ADAL" clId="{AEFF7DEE-6884-445A-9120-7BF993FA8936}" dt="2023-11-17T08:12:01.111" v="103" actId="33524"/>
          <ac:graphicFrameMkLst>
            <pc:docMk/>
            <pc:sldMk cId="4240256703" sldId="2434"/>
            <ac:graphicFrameMk id="10" creationId="{0EF152D8-7E22-405A-9145-E64DA0C4FFB0}"/>
          </ac:graphicFrameMkLst>
        </pc:graphicFrameChg>
      </pc:sldChg>
      <pc:sldChg chg="modSp mod delCm modCm">
        <pc:chgData name="van Leeuwen  Sara (VPPL)" userId="7a5f1df4-0dd0-4c9e-a72f-a035cf318af6" providerId="ADAL" clId="{AEFF7DEE-6884-445A-9120-7BF993FA8936}" dt="2023-11-17T08:41:44.287" v="313" actId="13926"/>
        <pc:sldMkLst>
          <pc:docMk/>
          <pc:sldMk cId="115161503" sldId="2437"/>
        </pc:sldMkLst>
        <pc:spChg chg="mod">
          <ac:chgData name="van Leeuwen  Sara (VPPL)" userId="7a5f1df4-0dd0-4c9e-a72f-a035cf318af6" providerId="ADAL" clId="{AEFF7DEE-6884-445A-9120-7BF993FA8936}" dt="2023-11-17T08:41:44.287" v="313" actId="13926"/>
          <ac:spMkLst>
            <pc:docMk/>
            <pc:sldMk cId="115161503" sldId="2437"/>
            <ac:spMk id="10" creationId="{00000000-0000-0000-0000-000000000000}"/>
          </ac:spMkLst>
        </pc:spChg>
      </pc:sldChg>
      <pc:sldChg chg="addSp delSp modSp mod delCm">
        <pc:chgData name="van Leeuwen  Sara (VPPL)" userId="7a5f1df4-0dd0-4c9e-a72f-a035cf318af6" providerId="ADAL" clId="{AEFF7DEE-6884-445A-9120-7BF993FA8936}" dt="2023-11-17T10:46:27.909" v="1087"/>
        <pc:sldMkLst>
          <pc:docMk/>
          <pc:sldMk cId="3420152249" sldId="2442"/>
        </pc:sldMkLst>
        <pc:spChg chg="mod">
          <ac:chgData name="van Leeuwen  Sara (VPPL)" userId="7a5f1df4-0dd0-4c9e-a72f-a035cf318af6" providerId="ADAL" clId="{AEFF7DEE-6884-445A-9120-7BF993FA8936}" dt="2023-11-17T10:46:27.893" v="1062" actId="948"/>
          <ac:spMkLst>
            <pc:docMk/>
            <pc:sldMk cId="3420152249" sldId="2442"/>
            <ac:spMk id="2" creationId="{00000000-0000-0000-0000-000000000000}"/>
          </ac:spMkLst>
        </pc:spChg>
        <pc:spChg chg="add del mod modVis">
          <ac:chgData name="van Leeuwen  Sara (VPPL)" userId="7a5f1df4-0dd0-4c9e-a72f-a035cf318af6" providerId="ADAL" clId="{AEFF7DEE-6884-445A-9120-7BF993FA8936}" dt="2023-11-17T10:46:23.936" v="1030"/>
          <ac:spMkLst>
            <pc:docMk/>
            <pc:sldMk cId="3420152249" sldId="2442"/>
            <ac:spMk id="7" creationId="{E4088C5D-08E1-5D08-0ED7-8D3D423479E4}"/>
          </ac:spMkLst>
        </pc:spChg>
        <pc:spChg chg="add del mod modVis">
          <ac:chgData name="van Leeuwen  Sara (VPPL)" userId="7a5f1df4-0dd0-4c9e-a72f-a035cf318af6" providerId="ADAL" clId="{AEFF7DEE-6884-445A-9120-7BF993FA8936}" dt="2023-11-17T10:46:24.524" v="1057"/>
          <ac:spMkLst>
            <pc:docMk/>
            <pc:sldMk cId="3420152249" sldId="2442"/>
            <ac:spMk id="8" creationId="{9AAA1C73-931F-B234-AAA5-7C6553B1DA47}"/>
          </ac:spMkLst>
        </pc:spChg>
        <pc:spChg chg="add del mod modVis">
          <ac:chgData name="van Leeuwen  Sara (VPPL)" userId="7a5f1df4-0dd0-4c9e-a72f-a035cf318af6" providerId="ADAL" clId="{AEFF7DEE-6884-445A-9120-7BF993FA8936}" dt="2023-11-17T10:46:27.909" v="1085"/>
          <ac:spMkLst>
            <pc:docMk/>
            <pc:sldMk cId="3420152249" sldId="2442"/>
            <ac:spMk id="10" creationId="{2F9DEAEA-F337-CB12-E1BE-4AA01EA0073D}"/>
          </ac:spMkLst>
        </pc:spChg>
        <pc:graphicFrameChg chg="mod">
          <ac:chgData name="van Leeuwen  Sara (VPPL)" userId="7a5f1df4-0dd0-4c9e-a72f-a035cf318af6" providerId="ADAL" clId="{AEFF7DEE-6884-445A-9120-7BF993FA8936}" dt="2023-11-17T10:46:27.909" v="1087"/>
          <ac:graphicFrameMkLst>
            <pc:docMk/>
            <pc:sldMk cId="3420152249" sldId="2442"/>
            <ac:graphicFrameMk id="5" creationId="{6CD3BF2A-4B05-1D82-BE24-6EDADE277B81}"/>
          </ac:graphicFrameMkLst>
        </pc:graphicFrameChg>
      </pc:sldChg>
      <pc:sldChg chg="addSp delSp modSp mod delCm modCm">
        <pc:chgData name="van Leeuwen  Sara (VPPL)" userId="7a5f1df4-0dd0-4c9e-a72f-a035cf318af6" providerId="ADAL" clId="{AEFF7DEE-6884-445A-9120-7BF993FA8936}" dt="2023-11-17T10:46:12.942" v="1005"/>
        <pc:sldMkLst>
          <pc:docMk/>
          <pc:sldMk cId="3191170877" sldId="2443"/>
        </pc:sldMkLst>
        <pc:spChg chg="mod">
          <ac:chgData name="van Leeuwen  Sara (VPPL)" userId="7a5f1df4-0dd0-4c9e-a72f-a035cf318af6" providerId="ADAL" clId="{AEFF7DEE-6884-445A-9120-7BF993FA8936}" dt="2023-11-17T10:46:12.927" v="980" actId="948"/>
          <ac:spMkLst>
            <pc:docMk/>
            <pc:sldMk cId="3191170877" sldId="2443"/>
            <ac:spMk id="2" creationId="{690BD18C-4CB3-58F7-B41A-F4746B7DAA6D}"/>
          </ac:spMkLst>
        </pc:spChg>
        <pc:spChg chg="mod">
          <ac:chgData name="van Leeuwen  Sara (VPPL)" userId="7a5f1df4-0dd0-4c9e-a72f-a035cf318af6" providerId="ADAL" clId="{AEFF7DEE-6884-445A-9120-7BF993FA8936}" dt="2023-11-17T08:25:37.659" v="258" actId="13926"/>
          <ac:spMkLst>
            <pc:docMk/>
            <pc:sldMk cId="3191170877" sldId="2443"/>
            <ac:spMk id="3" creationId="{74ABCEC1-985B-1C66-2D33-43D74A38B600}"/>
          </ac:spMkLst>
        </pc:spChg>
        <pc:spChg chg="add del mod modVis">
          <ac:chgData name="van Leeuwen  Sara (VPPL)" userId="7a5f1df4-0dd0-4c9e-a72f-a035cf318af6" providerId="ADAL" clId="{AEFF7DEE-6884-445A-9120-7BF993FA8936}" dt="2023-11-17T10:46:09.363" v="975"/>
          <ac:spMkLst>
            <pc:docMk/>
            <pc:sldMk cId="3191170877" sldId="2443"/>
            <ac:spMk id="7" creationId="{E1B607C8-5027-A19C-C401-5DAA36F89F42}"/>
          </ac:spMkLst>
        </pc:spChg>
        <pc:spChg chg="add del mod modVis">
          <ac:chgData name="van Leeuwen  Sara (VPPL)" userId="7a5f1df4-0dd0-4c9e-a72f-a035cf318af6" providerId="ADAL" clId="{AEFF7DEE-6884-445A-9120-7BF993FA8936}" dt="2023-11-17T10:46:12.942" v="1003"/>
          <ac:spMkLst>
            <pc:docMk/>
            <pc:sldMk cId="3191170877" sldId="2443"/>
            <ac:spMk id="12" creationId="{C5428069-1DE2-E840-F6ED-013547CD8D8F}"/>
          </ac:spMkLst>
        </pc:spChg>
        <pc:graphicFrameChg chg="mod">
          <ac:chgData name="van Leeuwen  Sara (VPPL)" userId="7a5f1df4-0dd0-4c9e-a72f-a035cf318af6" providerId="ADAL" clId="{AEFF7DEE-6884-445A-9120-7BF993FA8936}" dt="2023-11-17T10:46:12.942" v="1005"/>
          <ac:graphicFrameMkLst>
            <pc:docMk/>
            <pc:sldMk cId="3191170877" sldId="2443"/>
            <ac:graphicFrameMk id="8" creationId="{FF86D724-693B-0D9D-47EA-2D497893D3B1}"/>
          </ac:graphicFrameMkLst>
        </pc:graphicFrameChg>
      </pc:sldChg>
      <pc:sldChg chg="modSp mod delCm">
        <pc:chgData name="van Leeuwen  Sara (VPPL)" userId="7a5f1df4-0dd0-4c9e-a72f-a035cf318af6" providerId="ADAL" clId="{AEFF7DEE-6884-445A-9120-7BF993FA8936}" dt="2023-11-17T08:24:46.745" v="250"/>
        <pc:sldMkLst>
          <pc:docMk/>
          <pc:sldMk cId="687061124" sldId="2445"/>
        </pc:sldMkLst>
        <pc:spChg chg="mod">
          <ac:chgData name="van Leeuwen  Sara (VPPL)" userId="7a5f1df4-0dd0-4c9e-a72f-a035cf318af6" providerId="ADAL" clId="{AEFF7DEE-6884-445A-9120-7BF993FA8936}" dt="2023-11-17T08:23:51.540" v="249" actId="13926"/>
          <ac:spMkLst>
            <pc:docMk/>
            <pc:sldMk cId="687061124" sldId="2445"/>
            <ac:spMk id="3" creationId="{00000000-0000-0000-0000-000000000000}"/>
          </ac:spMkLst>
        </pc:spChg>
      </pc:sldChg>
      <pc:sldChg chg="modSp mod delCm modCm">
        <pc:chgData name="van Leeuwen  Sara (VPPL)" userId="7a5f1df4-0dd0-4c9e-a72f-a035cf318af6" providerId="ADAL" clId="{AEFF7DEE-6884-445A-9120-7BF993FA8936}" dt="2023-11-17T08:37:53.964" v="308"/>
        <pc:sldMkLst>
          <pc:docMk/>
          <pc:sldMk cId="645604469" sldId="2446"/>
        </pc:sldMkLst>
        <pc:spChg chg="mod">
          <ac:chgData name="van Leeuwen  Sara (VPPL)" userId="7a5f1df4-0dd0-4c9e-a72f-a035cf318af6" providerId="ADAL" clId="{AEFF7DEE-6884-445A-9120-7BF993FA8936}" dt="2023-11-17T08:37:51.710" v="307" actId="13926"/>
          <ac:spMkLst>
            <pc:docMk/>
            <pc:sldMk cId="645604469" sldId="2446"/>
            <ac:spMk id="3" creationId="{CD164694-0894-5683-F43E-332E0F82F468}"/>
          </ac:spMkLst>
        </pc:spChg>
      </pc:sldChg>
      <pc:sldChg chg="modSp mod delCm modCm">
        <pc:chgData name="van Leeuwen  Sara (VPPL)" userId="7a5f1df4-0dd0-4c9e-a72f-a035cf318af6" providerId="ADAL" clId="{AEFF7DEE-6884-445A-9120-7BF993FA8936}" dt="2023-11-17T08:28:37.241" v="302" actId="13926"/>
        <pc:sldMkLst>
          <pc:docMk/>
          <pc:sldMk cId="217941384" sldId="2447"/>
        </pc:sldMkLst>
        <pc:spChg chg="mod">
          <ac:chgData name="van Leeuwen  Sara (VPPL)" userId="7a5f1df4-0dd0-4c9e-a72f-a035cf318af6" providerId="ADAL" clId="{AEFF7DEE-6884-445A-9120-7BF993FA8936}" dt="2023-11-17T08:28:37.241" v="302" actId="13926"/>
          <ac:spMkLst>
            <pc:docMk/>
            <pc:sldMk cId="217941384" sldId="2447"/>
            <ac:spMk id="3" creationId="{00000000-0000-0000-0000-000000000000}"/>
          </ac:spMkLst>
        </pc:spChg>
      </pc:sldChg>
      <pc:sldChg chg="modSp mod delCm modCm">
        <pc:chgData name="van Leeuwen  Sara (VPPL)" userId="7a5f1df4-0dd0-4c9e-a72f-a035cf318af6" providerId="ADAL" clId="{AEFF7DEE-6884-445A-9120-7BF993FA8936}" dt="2023-11-17T08:07:30.325" v="46"/>
        <pc:sldMkLst>
          <pc:docMk/>
          <pc:sldMk cId="1765676676" sldId="2448"/>
        </pc:sldMkLst>
        <pc:spChg chg="mod">
          <ac:chgData name="van Leeuwen  Sara (VPPL)" userId="7a5f1df4-0dd0-4c9e-a72f-a035cf318af6" providerId="ADAL" clId="{AEFF7DEE-6884-445A-9120-7BF993FA8936}" dt="2023-11-17T08:07:09.940" v="44" actId="13926"/>
          <ac:spMkLst>
            <pc:docMk/>
            <pc:sldMk cId="1765676676" sldId="2448"/>
            <ac:spMk id="3" creationId="{E9BBD3EE-C606-408E-8853-A8E4F45E02CE}"/>
          </ac:spMkLst>
        </pc:spChg>
      </pc:sldChg>
    </pc:docChg>
  </pc:docChgLst>
  <pc:docChgLst>
    <pc:chgData name="van Leeuwen  Sara (VPPL)" userId="7a5f1df4-0dd0-4c9e-a72f-a035cf318af6" providerId="ADAL" clId="{7439252B-60B4-40D9-9D9B-2AD9ED49787B}"/>
    <pc:docChg chg="undo redo custSel addSld delSld modSld modMainMaster modSection replTag modNotesMaster">
      <pc:chgData name="van Leeuwen  Sara (VPPL)" userId="7a5f1df4-0dd0-4c9e-a72f-a035cf318af6" providerId="ADAL" clId="{7439252B-60B4-40D9-9D9B-2AD9ED49787B}" dt="2023-11-22T13:47:31.559" v="4711" actId="20577"/>
      <pc:docMkLst>
        <pc:docMk/>
      </pc:docMkLst>
      <pc:sldChg chg="addSp delSp modSp mod modNotes">
        <pc:chgData name="van Leeuwen  Sara (VPPL)" userId="7a5f1df4-0dd0-4c9e-a72f-a035cf318af6" providerId="ADAL" clId="{7439252B-60B4-40D9-9D9B-2AD9ED49787B}" dt="2023-11-17T14:16:23.521" v="2615" actId="1076"/>
        <pc:sldMkLst>
          <pc:docMk/>
          <pc:sldMk cId="3227777584" sldId="422"/>
        </pc:sldMkLst>
        <pc:spChg chg="mod">
          <ac:chgData name="van Leeuwen  Sara (VPPL)" userId="7a5f1df4-0dd0-4c9e-a72f-a035cf318af6" providerId="ADAL" clId="{7439252B-60B4-40D9-9D9B-2AD9ED49787B}" dt="2023-11-17T14:16:23.159" v="2249" actId="948"/>
          <ac:spMkLst>
            <pc:docMk/>
            <pc:sldMk cId="3227777584" sldId="422"/>
            <ac:spMk id="2" creationId="{FC65B3EF-08EF-432C-BEBF-CB2B499FB533}"/>
          </ac:spMkLst>
        </pc:spChg>
        <pc:spChg chg="mod">
          <ac:chgData name="van Leeuwen  Sara (VPPL)" userId="7a5f1df4-0dd0-4c9e-a72f-a035cf318af6" providerId="ADAL" clId="{7439252B-60B4-40D9-9D9B-2AD9ED49787B}" dt="2023-11-17T14:16:21.462" v="947" actId="947"/>
          <ac:spMkLst>
            <pc:docMk/>
            <pc:sldMk cId="3227777584" sldId="422"/>
            <ac:spMk id="3" creationId="{D248A836-D270-48AC-93BC-E789F2E8E734}"/>
          </ac:spMkLst>
        </pc:spChg>
        <pc:spChg chg="mod">
          <ac:chgData name="van Leeuwen  Sara (VPPL)" userId="7a5f1df4-0dd0-4c9e-a72f-a035cf318af6" providerId="ADAL" clId="{7439252B-60B4-40D9-9D9B-2AD9ED49787B}" dt="2023-11-17T14:16:21.462" v="949" actId="947"/>
          <ac:spMkLst>
            <pc:docMk/>
            <pc:sldMk cId="3227777584" sldId="422"/>
            <ac:spMk id="4" creationId="{305442D0-14ED-4C2A-A91B-14866EB77D60}"/>
          </ac:spMkLst>
        </pc:spChg>
        <pc:spChg chg="mod">
          <ac:chgData name="van Leeuwen  Sara (VPPL)" userId="7a5f1df4-0dd0-4c9e-a72f-a035cf318af6" providerId="ADAL" clId="{7439252B-60B4-40D9-9D9B-2AD9ED49787B}" dt="2023-11-17T14:16:21.462" v="951" actId="947"/>
          <ac:spMkLst>
            <pc:docMk/>
            <pc:sldMk cId="3227777584" sldId="422"/>
            <ac:spMk id="5" creationId="{B057CD9C-7E82-4EE5-8D4A-CF1F831FF9E4}"/>
          </ac:spMkLst>
        </pc:spChg>
        <pc:spChg chg="mod">
          <ac:chgData name="van Leeuwen  Sara (VPPL)" userId="7a5f1df4-0dd0-4c9e-a72f-a035cf318af6" providerId="ADAL" clId="{7439252B-60B4-40D9-9D9B-2AD9ED49787B}" dt="2023-11-17T14:16:21.477" v="953" actId="947"/>
          <ac:spMkLst>
            <pc:docMk/>
            <pc:sldMk cId="3227777584" sldId="422"/>
            <ac:spMk id="6" creationId="{727CB4E9-0DB2-4603-A8AD-72263838A1CA}"/>
          </ac:spMkLst>
        </pc:spChg>
        <pc:spChg chg="add del mod modVis">
          <ac:chgData name="van Leeuwen  Sara (VPPL)" userId="7a5f1df4-0dd0-4c9e-a72f-a035cf318af6" providerId="ADAL" clId="{7439252B-60B4-40D9-9D9B-2AD9ED49787B}" dt="2023-11-17T14:05:58.423" v="185"/>
          <ac:spMkLst>
            <pc:docMk/>
            <pc:sldMk cId="3227777584" sldId="422"/>
            <ac:spMk id="7" creationId="{8DA51A95-BCD1-954B-5A1D-2C0BE2A2E3A6}"/>
          </ac:spMkLst>
        </pc:spChg>
        <pc:spChg chg="del mod modVis">
          <ac:chgData name="van Leeuwen  Sara (VPPL)" userId="7a5f1df4-0dd0-4c9e-a72f-a035cf318af6" providerId="ADAL" clId="{7439252B-60B4-40D9-9D9B-2AD9ED49787B}" dt="2023-11-17T14:16:23.521" v="2614" actId="478"/>
          <ac:spMkLst>
            <pc:docMk/>
            <pc:sldMk cId="3227777584" sldId="422"/>
            <ac:spMk id="11" creationId="{33B7B982-F43D-0B2A-AFAF-348DFD042B63}"/>
          </ac:spMkLst>
        </pc:spChg>
        <pc:spChg chg="mod">
          <ac:chgData name="van Leeuwen  Sara (VPPL)" userId="7a5f1df4-0dd0-4c9e-a72f-a035cf318af6" providerId="ADAL" clId="{7439252B-60B4-40D9-9D9B-2AD9ED49787B}" dt="2023-11-17T14:16:21.477" v="955" actId="947"/>
          <ac:spMkLst>
            <pc:docMk/>
            <pc:sldMk cId="3227777584" sldId="422"/>
            <ac:spMk id="13" creationId="{53D2063C-9ED4-498A-AE70-37A043831FA0}"/>
          </ac:spMkLst>
        </pc:spChg>
        <pc:graphicFrameChg chg="mod">
          <ac:chgData name="van Leeuwen  Sara (VPPL)" userId="7a5f1df4-0dd0-4c9e-a72f-a035cf318af6" providerId="ADAL" clId="{7439252B-60B4-40D9-9D9B-2AD9ED49787B}" dt="2023-11-17T14:16:23.521" v="2615" actId="1076"/>
          <ac:graphicFrameMkLst>
            <pc:docMk/>
            <pc:sldMk cId="3227777584" sldId="422"/>
            <ac:graphicFrameMk id="9" creationId="{99C7040E-B05F-1FC8-1864-7EE431F9FC9E}"/>
          </ac:graphicFrameMkLst>
        </pc:graphicFrameChg>
      </pc:sldChg>
      <pc:sldChg chg="addSp delSp modSp mod modNotes">
        <pc:chgData name="van Leeuwen  Sara (VPPL)" userId="7a5f1df4-0dd0-4c9e-a72f-a035cf318af6" providerId="ADAL" clId="{7439252B-60B4-40D9-9D9B-2AD9ED49787B}" dt="2023-11-20T14:37:11.444" v="3366"/>
        <pc:sldMkLst>
          <pc:docMk/>
          <pc:sldMk cId="286829603" sldId="2339"/>
        </pc:sldMkLst>
        <pc:spChg chg="mod">
          <ac:chgData name="van Leeuwen  Sara (VPPL)" userId="7a5f1df4-0dd0-4c9e-a72f-a035cf318af6" providerId="ADAL" clId="{7439252B-60B4-40D9-9D9B-2AD9ED49787B}" dt="2023-11-20T14:35:01.905" v="3333" actId="948"/>
          <ac:spMkLst>
            <pc:docMk/>
            <pc:sldMk cId="286829603" sldId="2339"/>
            <ac:spMk id="2" creationId="{00000000-0000-0000-0000-000000000000}"/>
          </ac:spMkLst>
        </pc:spChg>
        <pc:spChg chg="del mod modVis">
          <ac:chgData name="van Leeuwen  Sara (VPPL)" userId="7a5f1df4-0dd0-4c9e-a72f-a035cf318af6" providerId="ADAL" clId="{7439252B-60B4-40D9-9D9B-2AD9ED49787B}" dt="2023-11-17T14:16:23.505" v="2604" actId="478"/>
          <ac:spMkLst>
            <pc:docMk/>
            <pc:sldMk cId="286829603" sldId="2339"/>
            <ac:spMk id="3" creationId="{303E10B0-A798-DE22-A8C7-38A04CAA256C}"/>
          </ac:spMkLst>
        </pc:spChg>
        <pc:spChg chg="add del mod modVis">
          <ac:chgData name="van Leeuwen  Sara (VPPL)" userId="7a5f1df4-0dd0-4c9e-a72f-a035cf318af6" providerId="ADAL" clId="{7439252B-60B4-40D9-9D9B-2AD9ED49787B}" dt="2023-11-20T14:34:41.002" v="3268"/>
          <ac:spMkLst>
            <pc:docMk/>
            <pc:sldMk cId="286829603" sldId="2339"/>
            <ac:spMk id="3" creationId="{D1B4B997-F57B-29F8-3E92-3DA8A556EB1B}"/>
          </ac:spMkLst>
        </pc:spChg>
        <pc:spChg chg="mod">
          <ac:chgData name="van Leeuwen  Sara (VPPL)" userId="7a5f1df4-0dd0-4c9e-a72f-a035cf318af6" providerId="ADAL" clId="{7439252B-60B4-40D9-9D9B-2AD9ED49787B}" dt="2023-11-17T14:16:21.289" v="729" actId="947"/>
          <ac:spMkLst>
            <pc:docMk/>
            <pc:sldMk cId="286829603" sldId="2339"/>
            <ac:spMk id="4" creationId="{00000000-0000-0000-0000-000000000000}"/>
          </ac:spMkLst>
        </pc:spChg>
        <pc:spChg chg="mod">
          <ac:chgData name="van Leeuwen  Sara (VPPL)" userId="7a5f1df4-0dd0-4c9e-a72f-a035cf318af6" providerId="ADAL" clId="{7439252B-60B4-40D9-9D9B-2AD9ED49787B}" dt="2023-11-17T14:16:21.289" v="733" actId="947"/>
          <ac:spMkLst>
            <pc:docMk/>
            <pc:sldMk cId="286829603" sldId="2339"/>
            <ac:spMk id="6" creationId="{00000000-0000-0000-0000-000000000000}"/>
          </ac:spMkLst>
        </pc:spChg>
        <pc:spChg chg="mod">
          <ac:chgData name="van Leeuwen  Sara (VPPL)" userId="7a5f1df4-0dd0-4c9e-a72f-a035cf318af6" providerId="ADAL" clId="{7439252B-60B4-40D9-9D9B-2AD9ED49787B}" dt="2023-11-17T14:16:21.315" v="757" actId="947"/>
          <ac:spMkLst>
            <pc:docMk/>
            <pc:sldMk cId="286829603" sldId="2339"/>
            <ac:spMk id="7" creationId="{7569C4AA-99FC-1B98-B5A8-E2E34D251296}"/>
          </ac:spMkLst>
        </pc:spChg>
        <pc:spChg chg="mod">
          <ac:chgData name="van Leeuwen  Sara (VPPL)" userId="7a5f1df4-0dd0-4c9e-a72f-a035cf318af6" providerId="ADAL" clId="{7439252B-60B4-40D9-9D9B-2AD9ED49787B}" dt="2023-11-17T14:16:21.305" v="751" actId="947"/>
          <ac:spMkLst>
            <pc:docMk/>
            <pc:sldMk cId="286829603" sldId="2339"/>
            <ac:spMk id="8" creationId="{00000000-0000-0000-0000-000000000000}"/>
          </ac:spMkLst>
        </pc:spChg>
        <pc:spChg chg="mod">
          <ac:chgData name="van Leeuwen  Sara (VPPL)" userId="7a5f1df4-0dd0-4c9e-a72f-a035cf318af6" providerId="ADAL" clId="{7439252B-60B4-40D9-9D9B-2AD9ED49787B}" dt="2023-11-20T14:35:33.686" v="3361"/>
          <ac:spMkLst>
            <pc:docMk/>
            <pc:sldMk cId="286829603" sldId="2339"/>
            <ac:spMk id="9" creationId="{00000000-0000-0000-0000-000000000000}"/>
          </ac:spMkLst>
        </pc:spChg>
        <pc:spChg chg="mod">
          <ac:chgData name="van Leeuwen  Sara (VPPL)" userId="7a5f1df4-0dd0-4c9e-a72f-a035cf318af6" providerId="ADAL" clId="{7439252B-60B4-40D9-9D9B-2AD9ED49787B}" dt="2023-11-17T14:16:21.315" v="759" actId="947"/>
          <ac:spMkLst>
            <pc:docMk/>
            <pc:sldMk cId="286829603" sldId="2339"/>
            <ac:spMk id="10" creationId="{6F41AF3B-302E-E75F-BA20-A8FFB5A1C173}"/>
          </ac:spMkLst>
        </pc:spChg>
        <pc:spChg chg="mod">
          <ac:chgData name="van Leeuwen  Sara (VPPL)" userId="7a5f1df4-0dd0-4c9e-a72f-a035cf318af6" providerId="ADAL" clId="{7439252B-60B4-40D9-9D9B-2AD9ED49787B}" dt="2023-11-17T14:16:21.289" v="737" actId="947"/>
          <ac:spMkLst>
            <pc:docMk/>
            <pc:sldMk cId="286829603" sldId="2339"/>
            <ac:spMk id="11" creationId="{00000000-0000-0000-0000-000000000000}"/>
          </ac:spMkLst>
        </pc:spChg>
        <pc:spChg chg="add del mod modVis">
          <ac:chgData name="van Leeuwen  Sara (VPPL)" userId="7a5f1df4-0dd0-4c9e-a72f-a035cf318af6" providerId="ADAL" clId="{7439252B-60B4-40D9-9D9B-2AD9ED49787B}" dt="2023-11-20T14:34:41.797" v="3298"/>
          <ac:spMkLst>
            <pc:docMk/>
            <pc:sldMk cId="286829603" sldId="2339"/>
            <ac:spMk id="12" creationId="{EC2E86D8-6EC3-F22C-4C43-BF2B7A3CAD1A}"/>
          </ac:spMkLst>
        </pc:spChg>
        <pc:spChg chg="mod">
          <ac:chgData name="van Leeuwen  Sara (VPPL)" userId="7a5f1df4-0dd0-4c9e-a72f-a035cf318af6" providerId="ADAL" clId="{7439252B-60B4-40D9-9D9B-2AD9ED49787B}" dt="2023-11-17T14:16:21.315" v="761" actId="947"/>
          <ac:spMkLst>
            <pc:docMk/>
            <pc:sldMk cId="286829603" sldId="2339"/>
            <ac:spMk id="13" creationId="{A2DA63D0-DB52-889F-2F2B-517DEC88A825}"/>
          </ac:spMkLst>
        </pc:spChg>
        <pc:spChg chg="mod">
          <ac:chgData name="van Leeuwen  Sara (VPPL)" userId="7a5f1df4-0dd0-4c9e-a72f-a035cf318af6" providerId="ADAL" clId="{7439252B-60B4-40D9-9D9B-2AD9ED49787B}" dt="2023-11-17T14:16:21.321" v="763" actId="947"/>
          <ac:spMkLst>
            <pc:docMk/>
            <pc:sldMk cId="286829603" sldId="2339"/>
            <ac:spMk id="14" creationId="{377CF0BC-CB95-8F98-6CEB-5CFEF27F7257}"/>
          </ac:spMkLst>
        </pc:spChg>
        <pc:spChg chg="mod">
          <ac:chgData name="van Leeuwen  Sara (VPPL)" userId="7a5f1df4-0dd0-4c9e-a72f-a035cf318af6" providerId="ADAL" clId="{7439252B-60B4-40D9-9D9B-2AD9ED49787B}" dt="2023-11-20T14:36:27.479" v="3364"/>
          <ac:spMkLst>
            <pc:docMk/>
            <pc:sldMk cId="286829603" sldId="2339"/>
            <ac:spMk id="15" creationId="{156683EB-D727-AEEC-79F5-8D0E4AB20A6B}"/>
          </ac:spMkLst>
        </pc:spChg>
        <pc:spChg chg="mod">
          <ac:chgData name="van Leeuwen  Sara (VPPL)" userId="7a5f1df4-0dd0-4c9e-a72f-a035cf318af6" providerId="ADAL" clId="{7439252B-60B4-40D9-9D9B-2AD9ED49787B}" dt="2023-11-20T14:36:44.302" v="3365"/>
          <ac:spMkLst>
            <pc:docMk/>
            <pc:sldMk cId="286829603" sldId="2339"/>
            <ac:spMk id="16" creationId="{FBA74DE1-7D88-9CC3-2F7B-6033EA6114E0}"/>
          </ac:spMkLst>
        </pc:spChg>
        <pc:spChg chg="mod">
          <ac:chgData name="van Leeuwen  Sara (VPPL)" userId="7a5f1df4-0dd0-4c9e-a72f-a035cf318af6" providerId="ADAL" clId="{7439252B-60B4-40D9-9D9B-2AD9ED49787B}" dt="2023-11-20T14:37:11.444" v="3366"/>
          <ac:spMkLst>
            <pc:docMk/>
            <pc:sldMk cId="286829603" sldId="2339"/>
            <ac:spMk id="17" creationId="{996C98F5-E864-5923-1607-1B96A5319F95}"/>
          </ac:spMkLst>
        </pc:spChg>
        <pc:spChg chg="add del mod modVis">
          <ac:chgData name="van Leeuwen  Sara (VPPL)" userId="7a5f1df4-0dd0-4c9e-a72f-a035cf318af6" providerId="ADAL" clId="{7439252B-60B4-40D9-9D9B-2AD9ED49787B}" dt="2023-11-20T14:34:42.937" v="3329"/>
          <ac:spMkLst>
            <pc:docMk/>
            <pc:sldMk cId="286829603" sldId="2339"/>
            <ac:spMk id="18" creationId="{D56E2742-2AAC-966E-3E07-D3B38CBD9636}"/>
          </ac:spMkLst>
        </pc:spChg>
        <pc:spChg chg="add del mod modVis">
          <ac:chgData name="van Leeuwen  Sara (VPPL)" userId="7a5f1df4-0dd0-4c9e-a72f-a035cf318af6" providerId="ADAL" clId="{7439252B-60B4-40D9-9D9B-2AD9ED49787B}" dt="2023-11-20T14:35:01.921" v="3356"/>
          <ac:spMkLst>
            <pc:docMk/>
            <pc:sldMk cId="286829603" sldId="2339"/>
            <ac:spMk id="19" creationId="{46AAD42B-AAF9-CD15-32CC-12B964743ABF}"/>
          </ac:spMkLst>
        </pc:spChg>
        <pc:spChg chg="mod">
          <ac:chgData name="van Leeuwen  Sara (VPPL)" userId="7a5f1df4-0dd0-4c9e-a72f-a035cf318af6" providerId="ADAL" clId="{7439252B-60B4-40D9-9D9B-2AD9ED49787B}" dt="2023-11-17T14:16:21.321" v="771" actId="947"/>
          <ac:spMkLst>
            <pc:docMk/>
            <pc:sldMk cId="286829603" sldId="2339"/>
            <ac:spMk id="22" creationId="{69BA734D-73D9-0E42-16FF-9A16E9A0AA7F}"/>
          </ac:spMkLst>
        </pc:spChg>
        <pc:spChg chg="mod">
          <ac:chgData name="van Leeuwen  Sara (VPPL)" userId="7a5f1df4-0dd0-4c9e-a72f-a035cf318af6" providerId="ADAL" clId="{7439252B-60B4-40D9-9D9B-2AD9ED49787B}" dt="2023-11-20T14:35:21.702" v="3360"/>
          <ac:spMkLst>
            <pc:docMk/>
            <pc:sldMk cId="286829603" sldId="2339"/>
            <ac:spMk id="24" creationId="{04289C6E-1199-0B99-D163-4CD3620BC9E0}"/>
          </ac:spMkLst>
        </pc:spChg>
        <pc:spChg chg="mod">
          <ac:chgData name="van Leeuwen  Sara (VPPL)" userId="7a5f1df4-0dd0-4c9e-a72f-a035cf318af6" providerId="ADAL" clId="{7439252B-60B4-40D9-9D9B-2AD9ED49787B}" dt="2023-11-17T14:16:21.305" v="753" actId="947"/>
          <ac:spMkLst>
            <pc:docMk/>
            <pc:sldMk cId="286829603" sldId="2339"/>
            <ac:spMk id="27" creationId="{00000000-0000-0000-0000-000000000000}"/>
          </ac:spMkLst>
        </pc:spChg>
        <pc:spChg chg="mod">
          <ac:chgData name="van Leeuwen  Sara (VPPL)" userId="7a5f1df4-0dd0-4c9e-a72f-a035cf318af6" providerId="ADAL" clId="{7439252B-60B4-40D9-9D9B-2AD9ED49787B}" dt="2023-11-17T14:16:21.315" v="755" actId="947"/>
          <ac:spMkLst>
            <pc:docMk/>
            <pc:sldMk cId="286829603" sldId="2339"/>
            <ac:spMk id="28" creationId="{00000000-0000-0000-0000-000000000000}"/>
          </ac:spMkLst>
        </pc:spChg>
        <pc:spChg chg="mod">
          <ac:chgData name="van Leeuwen  Sara (VPPL)" userId="7a5f1df4-0dd0-4c9e-a72f-a035cf318af6" providerId="ADAL" clId="{7439252B-60B4-40D9-9D9B-2AD9ED49787B}" dt="2023-11-17T14:16:21.321" v="775" actId="947"/>
          <ac:spMkLst>
            <pc:docMk/>
            <pc:sldMk cId="286829603" sldId="2339"/>
            <ac:spMk id="31" creationId="{90D245A3-6547-A8A7-9132-8A0860FFBF90}"/>
          </ac:spMkLst>
        </pc:spChg>
        <pc:spChg chg="mod">
          <ac:chgData name="van Leeuwen  Sara (VPPL)" userId="7a5f1df4-0dd0-4c9e-a72f-a035cf318af6" providerId="ADAL" clId="{7439252B-60B4-40D9-9D9B-2AD9ED49787B}" dt="2023-11-17T14:16:21.289" v="731" actId="947"/>
          <ac:spMkLst>
            <pc:docMk/>
            <pc:sldMk cId="286829603" sldId="2339"/>
            <ac:spMk id="32" creationId="{D75AFB06-C0D5-C44A-AFA0-9276A7192873}"/>
          </ac:spMkLst>
        </pc:spChg>
        <pc:spChg chg="mod">
          <ac:chgData name="van Leeuwen  Sara (VPPL)" userId="7a5f1df4-0dd0-4c9e-a72f-a035cf318af6" providerId="ADAL" clId="{7439252B-60B4-40D9-9D9B-2AD9ED49787B}" dt="2023-11-17T14:16:21.321" v="777" actId="947"/>
          <ac:spMkLst>
            <pc:docMk/>
            <pc:sldMk cId="286829603" sldId="2339"/>
            <ac:spMk id="33" creationId="{282627BB-A3F0-27F3-9756-6AFD3AD87099}"/>
          </ac:spMkLst>
        </pc:spChg>
        <pc:spChg chg="mod">
          <ac:chgData name="van Leeuwen  Sara (VPPL)" userId="7a5f1df4-0dd0-4c9e-a72f-a035cf318af6" providerId="ADAL" clId="{7439252B-60B4-40D9-9D9B-2AD9ED49787B}" dt="2023-11-17T14:16:21.321" v="779" actId="947"/>
          <ac:spMkLst>
            <pc:docMk/>
            <pc:sldMk cId="286829603" sldId="2339"/>
            <ac:spMk id="34" creationId="{29B16004-A9CF-6D1F-3737-102F15FFE287}"/>
          </ac:spMkLst>
        </pc:spChg>
        <pc:spChg chg="mod">
          <ac:chgData name="van Leeuwen  Sara (VPPL)" userId="7a5f1df4-0dd0-4c9e-a72f-a035cf318af6" providerId="ADAL" clId="{7439252B-60B4-40D9-9D9B-2AD9ED49787B}" dt="2023-11-17T14:16:21.321" v="781" actId="947"/>
          <ac:spMkLst>
            <pc:docMk/>
            <pc:sldMk cId="286829603" sldId="2339"/>
            <ac:spMk id="35" creationId="{25414BE8-4E73-27A2-3FFA-CFBF3946F190}"/>
          </ac:spMkLst>
        </pc:spChg>
        <pc:spChg chg="mod">
          <ac:chgData name="van Leeuwen  Sara (VPPL)" userId="7a5f1df4-0dd0-4c9e-a72f-a035cf318af6" providerId="ADAL" clId="{7439252B-60B4-40D9-9D9B-2AD9ED49787B}" dt="2023-11-17T14:16:21.305" v="747" actId="947"/>
          <ac:spMkLst>
            <pc:docMk/>
            <pc:sldMk cId="286829603" sldId="2339"/>
            <ac:spMk id="37" creationId="{00000000-0000-0000-0000-000000000000}"/>
          </ac:spMkLst>
        </pc:spChg>
        <pc:spChg chg="mod">
          <ac:chgData name="van Leeuwen  Sara (VPPL)" userId="7a5f1df4-0dd0-4c9e-a72f-a035cf318af6" providerId="ADAL" clId="{7439252B-60B4-40D9-9D9B-2AD9ED49787B}" dt="2023-11-20T14:35:11.275" v="3359"/>
          <ac:spMkLst>
            <pc:docMk/>
            <pc:sldMk cId="286829603" sldId="2339"/>
            <ac:spMk id="38" creationId="{00000000-0000-0000-0000-000000000000}"/>
          </ac:spMkLst>
        </pc:spChg>
        <pc:spChg chg="mod">
          <ac:chgData name="van Leeuwen  Sara (VPPL)" userId="7a5f1df4-0dd0-4c9e-a72f-a035cf318af6" providerId="ADAL" clId="{7439252B-60B4-40D9-9D9B-2AD9ED49787B}" dt="2023-11-17T14:16:21.289" v="735" actId="947"/>
          <ac:spMkLst>
            <pc:docMk/>
            <pc:sldMk cId="286829603" sldId="2339"/>
            <ac:spMk id="47" creationId="{00000000-0000-0000-0000-000000000000}"/>
          </ac:spMkLst>
        </pc:spChg>
        <pc:spChg chg="mod">
          <ac:chgData name="van Leeuwen  Sara (VPPL)" userId="7a5f1df4-0dd0-4c9e-a72f-a035cf318af6" providerId="ADAL" clId="{7439252B-60B4-40D9-9D9B-2AD9ED49787B}" dt="2023-11-20T14:35:47.315" v="3362"/>
          <ac:spMkLst>
            <pc:docMk/>
            <pc:sldMk cId="286829603" sldId="2339"/>
            <ac:spMk id="48" creationId="{00000000-0000-0000-0000-000000000000}"/>
          </ac:spMkLst>
        </pc:spChg>
        <pc:spChg chg="mod">
          <ac:chgData name="van Leeuwen  Sara (VPPL)" userId="7a5f1df4-0dd0-4c9e-a72f-a035cf318af6" providerId="ADAL" clId="{7439252B-60B4-40D9-9D9B-2AD9ED49787B}" dt="2023-11-20T14:36:12.918" v="3363"/>
          <ac:spMkLst>
            <pc:docMk/>
            <pc:sldMk cId="286829603" sldId="2339"/>
            <ac:spMk id="50" creationId="{00000000-0000-0000-0000-000000000000}"/>
          </ac:spMkLst>
        </pc:spChg>
        <pc:spChg chg="mod">
          <ac:chgData name="van Leeuwen  Sara (VPPL)" userId="7a5f1df4-0dd0-4c9e-a72f-a035cf318af6" providerId="ADAL" clId="{7439252B-60B4-40D9-9D9B-2AD9ED49787B}" dt="2023-11-17T14:16:21.289" v="739" actId="947"/>
          <ac:spMkLst>
            <pc:docMk/>
            <pc:sldMk cId="286829603" sldId="2339"/>
            <ac:spMk id="51" creationId="{00000000-0000-0000-0000-000000000000}"/>
          </ac:spMkLst>
        </pc:spChg>
        <pc:graphicFrameChg chg="mod">
          <ac:chgData name="van Leeuwen  Sara (VPPL)" userId="7a5f1df4-0dd0-4c9e-a72f-a035cf318af6" providerId="ADAL" clId="{7439252B-60B4-40D9-9D9B-2AD9ED49787B}" dt="2023-11-20T14:35:01.921" v="3358"/>
          <ac:graphicFrameMkLst>
            <pc:docMk/>
            <pc:sldMk cId="286829603" sldId="2339"/>
            <ac:graphicFrameMk id="5" creationId="{3C5E4746-44C5-4447-25BC-7C75BCB67ADF}"/>
          </ac:graphicFrameMkLst>
        </pc:graphicFrameChg>
      </pc:sldChg>
      <pc:sldChg chg="addSp delSp modSp mod modNotes">
        <pc:chgData name="van Leeuwen  Sara (VPPL)" userId="7a5f1df4-0dd0-4c9e-a72f-a035cf318af6" providerId="ADAL" clId="{7439252B-60B4-40D9-9D9B-2AD9ED49787B}" dt="2023-11-20T13:50:49.405" v="3070" actId="33524"/>
        <pc:sldMkLst>
          <pc:docMk/>
          <pc:sldMk cId="210407677" sldId="2350"/>
        </pc:sldMkLst>
        <pc:spChg chg="mod">
          <ac:chgData name="van Leeuwen  Sara (VPPL)" userId="7a5f1df4-0dd0-4c9e-a72f-a035cf318af6" providerId="ADAL" clId="{7439252B-60B4-40D9-9D9B-2AD9ED49787B}" dt="2023-11-20T13:50:02.614" v="3039" actId="948"/>
          <ac:spMkLst>
            <pc:docMk/>
            <pc:sldMk cId="210407677" sldId="2350"/>
            <ac:spMk id="2" creationId="{52558334-A345-4D81-9F4E-D052229C97C2}"/>
          </ac:spMkLst>
        </pc:spChg>
        <pc:spChg chg="mod">
          <ac:chgData name="van Leeuwen  Sara (VPPL)" userId="7a5f1df4-0dd0-4c9e-a72f-a035cf318af6" providerId="ADAL" clId="{7439252B-60B4-40D9-9D9B-2AD9ED49787B}" dt="2023-11-17T14:16:21.854" v="1313" actId="947"/>
          <ac:spMkLst>
            <pc:docMk/>
            <pc:sldMk cId="210407677" sldId="2350"/>
            <ac:spMk id="3" creationId="{723BB8B0-3216-5F05-ADD6-9B73AE911F92}"/>
          </ac:spMkLst>
        </pc:spChg>
        <pc:spChg chg="mod">
          <ac:chgData name="van Leeuwen  Sara (VPPL)" userId="7a5f1df4-0dd0-4c9e-a72f-a035cf318af6" providerId="ADAL" clId="{7439252B-60B4-40D9-9D9B-2AD9ED49787B}" dt="2023-11-20T13:50:49.405" v="3070" actId="33524"/>
          <ac:spMkLst>
            <pc:docMk/>
            <pc:sldMk cId="210407677" sldId="2350"/>
            <ac:spMk id="5" creationId="{20CBB855-862A-446C-A75E-1B38AEA6B736}"/>
          </ac:spMkLst>
        </pc:spChg>
        <pc:spChg chg="add del mod modVis">
          <ac:chgData name="van Leeuwen  Sara (VPPL)" userId="7a5f1df4-0dd0-4c9e-a72f-a035cf318af6" providerId="ADAL" clId="{7439252B-60B4-40D9-9D9B-2AD9ED49787B}" dt="2023-11-20T13:50:02.645" v="3062"/>
          <ac:spMkLst>
            <pc:docMk/>
            <pc:sldMk cId="210407677" sldId="2350"/>
            <ac:spMk id="6" creationId="{46CBFA13-25CC-B8DB-1DB1-082F30229425}"/>
          </ac:spMkLst>
        </pc:spChg>
        <pc:spChg chg="del mod modVis">
          <ac:chgData name="van Leeuwen  Sara (VPPL)" userId="7a5f1df4-0dd0-4c9e-a72f-a035cf318af6" providerId="ADAL" clId="{7439252B-60B4-40D9-9D9B-2AD9ED49787B}" dt="2023-11-17T14:16:23.552" v="2642" actId="478"/>
          <ac:spMkLst>
            <pc:docMk/>
            <pc:sldMk cId="210407677" sldId="2350"/>
            <ac:spMk id="6" creationId="{8FEF48CE-ED12-7BEE-10A0-32EDDFAC9BD4}"/>
          </ac:spMkLst>
        </pc:spChg>
        <pc:graphicFrameChg chg="mod">
          <ac:chgData name="van Leeuwen  Sara (VPPL)" userId="7a5f1df4-0dd0-4c9e-a72f-a035cf318af6" providerId="ADAL" clId="{7439252B-60B4-40D9-9D9B-2AD9ED49787B}" dt="2023-11-20T13:50:02.645" v="3064"/>
          <ac:graphicFrameMkLst>
            <pc:docMk/>
            <pc:sldMk cId="210407677" sldId="2350"/>
            <ac:graphicFrameMk id="4" creationId="{1FE7B902-01C5-279F-716C-D4818AF88DEB}"/>
          </ac:graphicFrameMkLst>
        </pc:graphicFrameChg>
      </pc:sldChg>
      <pc:sldChg chg="addSp delSp modSp mod modNotes">
        <pc:chgData name="van Leeuwen  Sara (VPPL)" userId="7a5f1df4-0dd0-4c9e-a72f-a035cf318af6" providerId="ADAL" clId="{7439252B-60B4-40D9-9D9B-2AD9ED49787B}" dt="2023-11-22T13:41:48.103" v="4683" actId="1037"/>
        <pc:sldMkLst>
          <pc:docMk/>
          <pc:sldMk cId="1080794082" sldId="2363"/>
        </pc:sldMkLst>
        <pc:spChg chg="mod">
          <ac:chgData name="van Leeuwen  Sara (VPPL)" userId="7a5f1df4-0dd0-4c9e-a72f-a035cf318af6" providerId="ADAL" clId="{7439252B-60B4-40D9-9D9B-2AD9ED49787B}" dt="2023-11-21T14:28:51.884" v="4000" actId="948"/>
          <ac:spMkLst>
            <pc:docMk/>
            <pc:sldMk cId="1080794082" sldId="2363"/>
            <ac:spMk id="2" creationId="{00000000-0000-0000-0000-000000000000}"/>
          </ac:spMkLst>
        </pc:spChg>
        <pc:spChg chg="del mod modVis">
          <ac:chgData name="van Leeuwen  Sara (VPPL)" userId="7a5f1df4-0dd0-4c9e-a72f-a035cf318af6" providerId="ADAL" clId="{7439252B-60B4-40D9-9D9B-2AD9ED49787B}" dt="2023-11-17T14:16:23.521" v="2618" actId="478"/>
          <ac:spMkLst>
            <pc:docMk/>
            <pc:sldMk cId="1080794082" sldId="2363"/>
            <ac:spMk id="3" creationId="{067AB3A7-6C74-6549-4552-ABB33C712DB0}"/>
          </ac:spMkLst>
        </pc:spChg>
        <pc:spChg chg="add del mod modVis">
          <ac:chgData name="van Leeuwen  Sara (VPPL)" userId="7a5f1df4-0dd0-4c9e-a72f-a035cf318af6" providerId="ADAL" clId="{7439252B-60B4-40D9-9D9B-2AD9ED49787B}" dt="2023-11-21T14:28:40.840" v="3994" actId="962"/>
          <ac:spMkLst>
            <pc:docMk/>
            <pc:sldMk cId="1080794082" sldId="2363"/>
            <ac:spMk id="3" creationId="{35A4EDD9-6F78-380A-3A68-5D413E9EDA8D}"/>
          </ac:spMkLst>
        </pc:spChg>
        <pc:spChg chg="mod">
          <ac:chgData name="van Leeuwen  Sara (VPPL)" userId="7a5f1df4-0dd0-4c9e-a72f-a035cf318af6" providerId="ADAL" clId="{7439252B-60B4-40D9-9D9B-2AD9ED49787B}" dt="2023-11-17T14:16:21.509" v="971" actId="947"/>
          <ac:spMkLst>
            <pc:docMk/>
            <pc:sldMk cId="1080794082" sldId="2363"/>
            <ac:spMk id="4" creationId="{00000000-0000-0000-0000-000000000000}"/>
          </ac:spMkLst>
        </pc:spChg>
        <pc:spChg chg="mod">
          <ac:chgData name="van Leeuwen  Sara (VPPL)" userId="7a5f1df4-0dd0-4c9e-a72f-a035cf318af6" providerId="ADAL" clId="{7439252B-60B4-40D9-9D9B-2AD9ED49787B}" dt="2023-11-17T14:16:21.515" v="975" actId="947"/>
          <ac:spMkLst>
            <pc:docMk/>
            <pc:sldMk cId="1080794082" sldId="2363"/>
            <ac:spMk id="6" creationId="{00000000-0000-0000-0000-000000000000}"/>
          </ac:spMkLst>
        </pc:spChg>
        <pc:spChg chg="add del mod modVis">
          <ac:chgData name="van Leeuwen  Sara (VPPL)" userId="7a5f1df4-0dd0-4c9e-a72f-a035cf318af6" providerId="ADAL" clId="{7439252B-60B4-40D9-9D9B-2AD9ED49787B}" dt="2023-11-21T14:28:51.900" v="4023"/>
          <ac:spMkLst>
            <pc:docMk/>
            <pc:sldMk cId="1080794082" sldId="2363"/>
            <ac:spMk id="7" creationId="{85EE7E7D-7FD5-1608-F13A-0366C9245413}"/>
          </ac:spMkLst>
        </pc:spChg>
        <pc:spChg chg="mod">
          <ac:chgData name="van Leeuwen  Sara (VPPL)" userId="7a5f1df4-0dd0-4c9e-a72f-a035cf318af6" providerId="ADAL" clId="{7439252B-60B4-40D9-9D9B-2AD9ED49787B}" dt="2023-11-17T14:16:21.515" v="977" actId="947"/>
          <ac:spMkLst>
            <pc:docMk/>
            <pc:sldMk cId="1080794082" sldId="2363"/>
            <ac:spMk id="9" creationId="{DAD87841-70CF-4F6D-B9E5-42EAA3A807C7}"/>
          </ac:spMkLst>
        </pc:spChg>
        <pc:spChg chg="mod">
          <ac:chgData name="van Leeuwen  Sara (VPPL)" userId="7a5f1df4-0dd0-4c9e-a72f-a035cf318af6" providerId="ADAL" clId="{7439252B-60B4-40D9-9D9B-2AD9ED49787B}" dt="2023-11-17T14:16:21.515" v="973" actId="947"/>
          <ac:spMkLst>
            <pc:docMk/>
            <pc:sldMk cId="1080794082" sldId="2363"/>
            <ac:spMk id="12" creationId="{D75AFB06-C0D5-C44A-AFA0-9276A7192873}"/>
          </ac:spMkLst>
        </pc:spChg>
        <pc:spChg chg="mod">
          <ac:chgData name="van Leeuwen  Sara (VPPL)" userId="7a5f1df4-0dd0-4c9e-a72f-a035cf318af6" providerId="ADAL" clId="{7439252B-60B4-40D9-9D9B-2AD9ED49787B}" dt="2023-11-22T12:35:00.096" v="4400" actId="14100"/>
          <ac:spMkLst>
            <pc:docMk/>
            <pc:sldMk cId="1080794082" sldId="2363"/>
            <ac:spMk id="19" creationId="{A0AA57D8-6525-B82E-1C62-1D086A2C61F0}"/>
          </ac:spMkLst>
        </pc:spChg>
        <pc:spChg chg="mod">
          <ac:chgData name="van Leeuwen  Sara (VPPL)" userId="7a5f1df4-0dd0-4c9e-a72f-a035cf318af6" providerId="ADAL" clId="{7439252B-60B4-40D9-9D9B-2AD9ED49787B}" dt="2023-11-22T13:41:48.103" v="4683" actId="1037"/>
          <ac:spMkLst>
            <pc:docMk/>
            <pc:sldMk cId="1080794082" sldId="2363"/>
            <ac:spMk id="20" creationId="{CF7B0E3C-915D-6129-4612-FFB31E8E9DE1}"/>
          </ac:spMkLst>
        </pc:spChg>
        <pc:spChg chg="mod">
          <ac:chgData name="van Leeuwen  Sara (VPPL)" userId="7a5f1df4-0dd0-4c9e-a72f-a035cf318af6" providerId="ADAL" clId="{7439252B-60B4-40D9-9D9B-2AD9ED49787B}" dt="2023-11-22T13:41:39.687" v="4681" actId="1037"/>
          <ac:spMkLst>
            <pc:docMk/>
            <pc:sldMk cId="1080794082" sldId="2363"/>
            <ac:spMk id="24" creationId="{75D38813-0E3F-5E16-F430-0CD6F710989C}"/>
          </ac:spMkLst>
        </pc:spChg>
        <pc:spChg chg="mod">
          <ac:chgData name="van Leeuwen  Sara (VPPL)" userId="7a5f1df4-0dd0-4c9e-a72f-a035cf318af6" providerId="ADAL" clId="{7439252B-60B4-40D9-9D9B-2AD9ED49787B}" dt="2023-11-21T14:48:50.146" v="4049" actId="14100"/>
          <ac:spMkLst>
            <pc:docMk/>
            <pc:sldMk cId="1080794082" sldId="2363"/>
            <ac:spMk id="28" creationId="{78A878A6-2955-34DC-8D75-4E2128930BD8}"/>
          </ac:spMkLst>
        </pc:spChg>
        <pc:graphicFrameChg chg="mod">
          <ac:chgData name="van Leeuwen  Sara (VPPL)" userId="7a5f1df4-0dd0-4c9e-a72f-a035cf318af6" providerId="ADAL" clId="{7439252B-60B4-40D9-9D9B-2AD9ED49787B}" dt="2023-11-21T14:28:51.900" v="4025"/>
          <ac:graphicFrameMkLst>
            <pc:docMk/>
            <pc:sldMk cId="1080794082" sldId="2363"/>
            <ac:graphicFrameMk id="5" creationId="{6CD3BF2A-4B05-1D82-BE24-6EDADE277B81}"/>
          </ac:graphicFrameMkLst>
        </pc:graphicFrameChg>
        <pc:picChg chg="mod">
          <ac:chgData name="van Leeuwen  Sara (VPPL)" userId="7a5f1df4-0dd0-4c9e-a72f-a035cf318af6" providerId="ADAL" clId="{7439252B-60B4-40D9-9D9B-2AD9ED49787B}" dt="2023-11-22T13:41:39.687" v="4681" actId="1037"/>
          <ac:picMkLst>
            <pc:docMk/>
            <pc:sldMk cId="1080794082" sldId="2363"/>
            <ac:picMk id="26" creationId="{31E44439-1382-DDF9-F549-7C738C45232B}"/>
          </ac:picMkLst>
        </pc:picChg>
      </pc:sldChg>
      <pc:sldChg chg="addSp delSp modSp mod modNotes">
        <pc:chgData name="van Leeuwen  Sara (VPPL)" userId="7a5f1df4-0dd0-4c9e-a72f-a035cf318af6" providerId="ADAL" clId="{7439252B-60B4-40D9-9D9B-2AD9ED49787B}" dt="2023-11-22T13:47:31.559" v="4711" actId="20577"/>
        <pc:sldMkLst>
          <pc:docMk/>
          <pc:sldMk cId="1900787555" sldId="2369"/>
        </pc:sldMkLst>
        <pc:spChg chg="mod">
          <ac:chgData name="van Leeuwen  Sara (VPPL)" userId="7a5f1df4-0dd0-4c9e-a72f-a035cf318af6" providerId="ADAL" clId="{7439252B-60B4-40D9-9D9B-2AD9ED49787B}" dt="2023-11-22T12:44:02.230" v="4576" actId="948"/>
          <ac:spMkLst>
            <pc:docMk/>
            <pc:sldMk cId="1900787555" sldId="2369"/>
            <ac:spMk id="2" creationId="{FC65B3EF-08EF-432C-BEBF-CB2B499FB533}"/>
          </ac:spMkLst>
        </pc:spChg>
        <pc:spChg chg="mod">
          <ac:chgData name="van Leeuwen  Sara (VPPL)" userId="7a5f1df4-0dd0-4c9e-a72f-a035cf318af6" providerId="ADAL" clId="{7439252B-60B4-40D9-9D9B-2AD9ED49787B}" dt="2023-11-22T13:47:31.559" v="4711" actId="20577"/>
          <ac:spMkLst>
            <pc:docMk/>
            <pc:sldMk cId="1900787555" sldId="2369"/>
            <ac:spMk id="3" creationId="{D248A836-D270-48AC-93BC-E789F2E8E734}"/>
          </ac:spMkLst>
        </pc:spChg>
        <pc:spChg chg="mod">
          <ac:chgData name="van Leeuwen  Sara (VPPL)" userId="7a5f1df4-0dd0-4c9e-a72f-a035cf318af6" providerId="ADAL" clId="{7439252B-60B4-40D9-9D9B-2AD9ED49787B}" dt="2023-11-17T14:16:21.854" v="1319" actId="947"/>
          <ac:spMkLst>
            <pc:docMk/>
            <pc:sldMk cId="1900787555" sldId="2369"/>
            <ac:spMk id="4" creationId="{305442D0-14ED-4C2A-A91B-14866EB77D60}"/>
          </ac:spMkLst>
        </pc:spChg>
        <pc:spChg chg="mod">
          <ac:chgData name="van Leeuwen  Sara (VPPL)" userId="7a5f1df4-0dd0-4c9e-a72f-a035cf318af6" providerId="ADAL" clId="{7439252B-60B4-40D9-9D9B-2AD9ED49787B}" dt="2023-11-17T14:16:21.870" v="1321" actId="947"/>
          <ac:spMkLst>
            <pc:docMk/>
            <pc:sldMk cId="1900787555" sldId="2369"/>
            <ac:spMk id="5" creationId="{B057CD9C-7E82-4EE5-8D4A-CF1F831FF9E4}"/>
          </ac:spMkLst>
        </pc:spChg>
        <pc:spChg chg="mod">
          <ac:chgData name="van Leeuwen  Sara (VPPL)" userId="7a5f1df4-0dd0-4c9e-a72f-a035cf318af6" providerId="ADAL" clId="{7439252B-60B4-40D9-9D9B-2AD9ED49787B}" dt="2023-11-17T14:16:21.870" v="1323" actId="947"/>
          <ac:spMkLst>
            <pc:docMk/>
            <pc:sldMk cId="1900787555" sldId="2369"/>
            <ac:spMk id="6" creationId="{727CB4E9-0DB2-4603-A8AD-72263838A1CA}"/>
          </ac:spMkLst>
        </pc:spChg>
        <pc:spChg chg="del mod modVis">
          <ac:chgData name="van Leeuwen  Sara (VPPL)" userId="7a5f1df4-0dd0-4c9e-a72f-a035cf318af6" providerId="ADAL" clId="{7439252B-60B4-40D9-9D9B-2AD9ED49787B}" dt="2023-11-17T14:16:23.552" v="2644" actId="478"/>
          <ac:spMkLst>
            <pc:docMk/>
            <pc:sldMk cId="1900787555" sldId="2369"/>
            <ac:spMk id="7" creationId="{1E150686-914A-3A2D-49FA-F0F3AACA9D53}"/>
          </ac:spMkLst>
        </pc:spChg>
        <pc:spChg chg="add del mod modVis">
          <ac:chgData name="van Leeuwen  Sara (VPPL)" userId="7a5f1df4-0dd0-4c9e-a72f-a035cf318af6" providerId="ADAL" clId="{7439252B-60B4-40D9-9D9B-2AD9ED49787B}" dt="2023-11-22T12:44:02.246" v="4599"/>
          <ac:spMkLst>
            <pc:docMk/>
            <pc:sldMk cId="1900787555" sldId="2369"/>
            <ac:spMk id="7" creationId="{795B310A-73CC-DA41-AD8B-B7C9EF65C841}"/>
          </ac:spMkLst>
        </pc:spChg>
        <pc:spChg chg="mod">
          <ac:chgData name="van Leeuwen  Sara (VPPL)" userId="7a5f1df4-0dd0-4c9e-a72f-a035cf318af6" providerId="ADAL" clId="{7439252B-60B4-40D9-9D9B-2AD9ED49787B}" dt="2023-11-17T14:16:21.870" v="1325" actId="947"/>
          <ac:spMkLst>
            <pc:docMk/>
            <pc:sldMk cId="1900787555" sldId="2369"/>
            <ac:spMk id="9" creationId="{8928BBA9-96FA-40B4-9815-860C77E3EC41}"/>
          </ac:spMkLst>
        </pc:spChg>
        <pc:graphicFrameChg chg="mod">
          <ac:chgData name="van Leeuwen  Sara (VPPL)" userId="7a5f1df4-0dd0-4c9e-a72f-a035cf318af6" providerId="ADAL" clId="{7439252B-60B4-40D9-9D9B-2AD9ED49787B}" dt="2023-11-22T12:44:02.246" v="4601"/>
          <ac:graphicFrameMkLst>
            <pc:docMk/>
            <pc:sldMk cId="1900787555" sldId="2369"/>
            <ac:graphicFrameMk id="10" creationId="{5CEC7E4B-C0D8-8565-2536-A0AED66D6795}"/>
          </ac:graphicFrameMkLst>
        </pc:graphicFrameChg>
      </pc:sldChg>
      <pc:sldChg chg="addSp delSp modSp mod modNotes">
        <pc:chgData name="van Leeuwen  Sara (VPPL)" userId="7a5f1df4-0dd0-4c9e-a72f-a035cf318af6" providerId="ADAL" clId="{7439252B-60B4-40D9-9D9B-2AD9ED49787B}" dt="2023-11-22T13:28:03.373" v="4641" actId="6549"/>
        <pc:sldMkLst>
          <pc:docMk/>
          <pc:sldMk cId="2700500582" sldId="2374"/>
        </pc:sldMkLst>
        <pc:spChg chg="mod">
          <ac:chgData name="van Leeuwen  Sara (VPPL)" userId="7a5f1df4-0dd0-4c9e-a72f-a035cf318af6" providerId="ADAL" clId="{7439252B-60B4-40D9-9D9B-2AD9ED49787B}" dt="2023-11-17T15:34:57.080" v="2773" actId="948"/>
          <ac:spMkLst>
            <pc:docMk/>
            <pc:sldMk cId="2700500582" sldId="2374"/>
            <ac:spMk id="2" creationId="{00000000-0000-0000-0000-000000000000}"/>
          </ac:spMkLst>
        </pc:spChg>
        <pc:spChg chg="mod">
          <ac:chgData name="van Leeuwen  Sara (VPPL)" userId="7a5f1df4-0dd0-4c9e-a72f-a035cf318af6" providerId="ADAL" clId="{7439252B-60B4-40D9-9D9B-2AD9ED49787B}" dt="2023-11-17T15:35:07.470" v="2799"/>
          <ac:spMkLst>
            <pc:docMk/>
            <pc:sldMk cId="2700500582" sldId="2374"/>
            <ac:spMk id="3" creationId="{7A042853-0D90-4A81-96A2-3E339984207D}"/>
          </ac:spMkLst>
        </pc:spChg>
        <pc:spChg chg="mod">
          <ac:chgData name="van Leeuwen  Sara (VPPL)" userId="7a5f1df4-0dd0-4c9e-a72f-a035cf318af6" providerId="ADAL" clId="{7439252B-60B4-40D9-9D9B-2AD9ED49787B}" dt="2023-11-17T14:16:21.179" v="611" actId="947"/>
          <ac:spMkLst>
            <pc:docMk/>
            <pc:sldMk cId="2700500582" sldId="2374"/>
            <ac:spMk id="4" creationId="{00000000-0000-0000-0000-000000000000}"/>
          </ac:spMkLst>
        </pc:spChg>
        <pc:spChg chg="del mod modVis">
          <ac:chgData name="van Leeuwen  Sara (VPPL)" userId="7a5f1df4-0dd0-4c9e-a72f-a035cf318af6" providerId="ADAL" clId="{7439252B-60B4-40D9-9D9B-2AD9ED49787B}" dt="2023-11-17T14:16:23.489" v="2597" actId="478"/>
          <ac:spMkLst>
            <pc:docMk/>
            <pc:sldMk cId="2700500582" sldId="2374"/>
            <ac:spMk id="5" creationId="{5F5385E1-6EA2-049F-577A-C41CC4F35E50}"/>
          </ac:spMkLst>
        </pc:spChg>
        <pc:spChg chg="mod">
          <ac:chgData name="van Leeuwen  Sara (VPPL)" userId="7a5f1df4-0dd0-4c9e-a72f-a035cf318af6" providerId="ADAL" clId="{7439252B-60B4-40D9-9D9B-2AD9ED49787B}" dt="2023-11-17T14:16:21.179" v="615" actId="947"/>
          <ac:spMkLst>
            <pc:docMk/>
            <pc:sldMk cId="2700500582" sldId="2374"/>
            <ac:spMk id="6" creationId="{00000000-0000-0000-0000-000000000000}"/>
          </ac:spMkLst>
        </pc:spChg>
        <pc:spChg chg="mod">
          <ac:chgData name="van Leeuwen  Sara (VPPL)" userId="7a5f1df4-0dd0-4c9e-a72f-a035cf318af6" providerId="ADAL" clId="{7439252B-60B4-40D9-9D9B-2AD9ED49787B}" dt="2023-11-17T14:16:21.179" v="613" actId="947"/>
          <ac:spMkLst>
            <pc:docMk/>
            <pc:sldMk cId="2700500582" sldId="2374"/>
            <ac:spMk id="8" creationId="{D75AFB06-C0D5-C44A-AFA0-9276A7192873}"/>
          </ac:spMkLst>
        </pc:spChg>
        <pc:spChg chg="mod">
          <ac:chgData name="van Leeuwen  Sara (VPPL)" userId="7a5f1df4-0dd0-4c9e-a72f-a035cf318af6" providerId="ADAL" clId="{7439252B-60B4-40D9-9D9B-2AD9ED49787B}" dt="2023-11-17T14:16:21.214" v="655" actId="947"/>
          <ac:spMkLst>
            <pc:docMk/>
            <pc:sldMk cId="2700500582" sldId="2374"/>
            <ac:spMk id="9" creationId="{89A99E02-2595-4654-A914-9755D7AC0719}"/>
          </ac:spMkLst>
        </pc:spChg>
        <pc:spChg chg="mod">
          <ac:chgData name="van Leeuwen  Sara (VPPL)" userId="7a5f1df4-0dd0-4c9e-a72f-a035cf318af6" providerId="ADAL" clId="{7439252B-60B4-40D9-9D9B-2AD9ED49787B}" dt="2023-11-17T14:16:21.179" v="607" actId="947"/>
          <ac:spMkLst>
            <pc:docMk/>
            <pc:sldMk cId="2700500582" sldId="2374"/>
            <ac:spMk id="11" creationId="{5344F9C8-B127-4FF7-8C03-12CC8EFA99B9}"/>
          </ac:spMkLst>
        </pc:spChg>
        <pc:spChg chg="add del mod modVis">
          <ac:chgData name="van Leeuwen  Sara (VPPL)" userId="7a5f1df4-0dd0-4c9e-a72f-a035cf318af6" providerId="ADAL" clId="{7439252B-60B4-40D9-9D9B-2AD9ED49787B}" dt="2023-11-17T15:34:57.111" v="2796"/>
          <ac:spMkLst>
            <pc:docMk/>
            <pc:sldMk cId="2700500582" sldId="2374"/>
            <ac:spMk id="12" creationId="{D42C4E8D-C028-B046-97FB-36A3BA0D221F}"/>
          </ac:spMkLst>
        </pc:spChg>
        <pc:graphicFrameChg chg="mod">
          <ac:chgData name="van Leeuwen  Sara (VPPL)" userId="7a5f1df4-0dd0-4c9e-a72f-a035cf318af6" providerId="ADAL" clId="{7439252B-60B4-40D9-9D9B-2AD9ED49787B}" dt="2023-11-17T15:34:57.111" v="2798"/>
          <ac:graphicFrameMkLst>
            <pc:docMk/>
            <pc:sldMk cId="2700500582" sldId="2374"/>
            <ac:graphicFrameMk id="7" creationId="{D029420C-BACC-45F4-B59F-60328FEAACD1}"/>
          </ac:graphicFrameMkLst>
        </pc:graphicFrameChg>
        <pc:graphicFrameChg chg="mod modGraphic">
          <ac:chgData name="van Leeuwen  Sara (VPPL)" userId="7a5f1df4-0dd0-4c9e-a72f-a035cf318af6" providerId="ADAL" clId="{7439252B-60B4-40D9-9D9B-2AD9ED49787B}" dt="2023-11-22T13:28:03.373" v="4641" actId="6549"/>
          <ac:graphicFrameMkLst>
            <pc:docMk/>
            <pc:sldMk cId="2700500582" sldId="2374"/>
            <ac:graphicFrameMk id="10" creationId="{9B7E8B9D-5F9A-4F11-B14F-FECAB6CF2579}"/>
          </ac:graphicFrameMkLst>
        </pc:graphicFrameChg>
      </pc:sldChg>
      <pc:sldChg chg="modSp mod modNotes">
        <pc:chgData name="van Leeuwen  Sara (VPPL)" userId="7a5f1df4-0dd0-4c9e-a72f-a035cf318af6" providerId="ADAL" clId="{7439252B-60B4-40D9-9D9B-2AD9ED49787B}" dt="2023-11-17T14:16:23.473" v="2583" actId="1076"/>
        <pc:sldMkLst>
          <pc:docMk/>
          <pc:sldMk cId="3233872304" sldId="2379"/>
        </pc:sldMkLst>
        <pc:spChg chg="mod">
          <ac:chgData name="van Leeuwen  Sara (VPPL)" userId="7a5f1df4-0dd0-4c9e-a72f-a035cf318af6" providerId="ADAL" clId="{7439252B-60B4-40D9-9D9B-2AD9ED49787B}" dt="2023-11-17T14:16:21.014" v="471" actId="947"/>
          <ac:spMkLst>
            <pc:docMk/>
            <pc:sldMk cId="3233872304" sldId="2379"/>
            <ac:spMk id="4" creationId="{1C64F35D-60B1-47E8-8AA1-15FBD62E6694}"/>
          </ac:spMkLst>
        </pc:spChg>
        <pc:spChg chg="mod">
          <ac:chgData name="van Leeuwen  Sara (VPPL)" userId="7a5f1df4-0dd0-4c9e-a72f-a035cf318af6" providerId="ADAL" clId="{7439252B-60B4-40D9-9D9B-2AD9ED49787B}" dt="2023-11-17T14:16:21.014" v="469" actId="947"/>
          <ac:spMkLst>
            <pc:docMk/>
            <pc:sldMk cId="3233872304" sldId="2379"/>
            <ac:spMk id="8" creationId="{AC1FB292-90C1-439C-8480-EB4116CF2374}"/>
          </ac:spMkLst>
        </pc:spChg>
        <pc:graphicFrameChg chg="mod">
          <ac:chgData name="van Leeuwen  Sara (VPPL)" userId="7a5f1df4-0dd0-4c9e-a72f-a035cf318af6" providerId="ADAL" clId="{7439252B-60B4-40D9-9D9B-2AD9ED49787B}" dt="2023-11-17T14:16:23.473" v="2583" actId="1076"/>
          <ac:graphicFrameMkLst>
            <pc:docMk/>
            <pc:sldMk cId="3233872304" sldId="2379"/>
            <ac:graphicFrameMk id="3" creationId="{0372FE01-FDAF-E163-444D-9DE29DB2312E}"/>
          </ac:graphicFrameMkLst>
        </pc:graphicFrameChg>
      </pc:sldChg>
      <pc:sldChg chg="addSp delSp modSp mod modNotes">
        <pc:chgData name="van Leeuwen  Sara (VPPL)" userId="7a5f1df4-0dd0-4c9e-a72f-a035cf318af6" providerId="ADAL" clId="{7439252B-60B4-40D9-9D9B-2AD9ED49787B}" dt="2023-11-22T13:34:14.997" v="4655" actId="20577"/>
        <pc:sldMkLst>
          <pc:docMk/>
          <pc:sldMk cId="1769867695" sldId="2392"/>
        </pc:sldMkLst>
        <pc:spChg chg="mod">
          <ac:chgData name="van Leeuwen  Sara (VPPL)" userId="7a5f1df4-0dd0-4c9e-a72f-a035cf318af6" providerId="ADAL" clId="{7439252B-60B4-40D9-9D9B-2AD9ED49787B}" dt="2023-11-21T14:07:52.393" v="3793" actId="948"/>
          <ac:spMkLst>
            <pc:docMk/>
            <pc:sldMk cId="1769867695" sldId="2392"/>
            <ac:spMk id="2" creationId="{00000000-0000-0000-0000-000000000000}"/>
          </ac:spMkLst>
        </pc:spChg>
        <pc:spChg chg="del mod modVis">
          <ac:chgData name="van Leeuwen  Sara (VPPL)" userId="7a5f1df4-0dd0-4c9e-a72f-a035cf318af6" providerId="ADAL" clId="{7439252B-60B4-40D9-9D9B-2AD9ED49787B}" dt="2023-11-17T14:16:23.505" v="2602" actId="478"/>
          <ac:spMkLst>
            <pc:docMk/>
            <pc:sldMk cId="1769867695" sldId="2392"/>
            <ac:spMk id="3" creationId="{49E23CF6-4D4D-287C-F46C-F6FB5D995F05}"/>
          </ac:spMkLst>
        </pc:spChg>
        <pc:spChg chg="add del mod modVis">
          <ac:chgData name="van Leeuwen  Sara (VPPL)" userId="7a5f1df4-0dd0-4c9e-a72f-a035cf318af6" providerId="ADAL" clId="{7439252B-60B4-40D9-9D9B-2AD9ED49787B}" dt="2023-11-21T14:06:19.169" v="3555"/>
          <ac:spMkLst>
            <pc:docMk/>
            <pc:sldMk cId="1769867695" sldId="2392"/>
            <ac:spMk id="3" creationId="{7A7DE8FE-6F51-D563-D5AC-7530631E86F7}"/>
          </ac:spMkLst>
        </pc:spChg>
        <pc:spChg chg="mod">
          <ac:chgData name="van Leeuwen  Sara (VPPL)" userId="7a5f1df4-0dd0-4c9e-a72f-a035cf318af6" providerId="ADAL" clId="{7439252B-60B4-40D9-9D9B-2AD9ED49787B}" dt="2023-11-17T14:16:21.273" v="719" actId="947"/>
          <ac:spMkLst>
            <pc:docMk/>
            <pc:sldMk cId="1769867695" sldId="2392"/>
            <ac:spMk id="4" creationId="{00000000-0000-0000-0000-000000000000}"/>
          </ac:spMkLst>
        </pc:spChg>
        <pc:spChg chg="mod">
          <ac:chgData name="van Leeuwen  Sara (VPPL)" userId="7a5f1df4-0dd0-4c9e-a72f-a035cf318af6" providerId="ADAL" clId="{7439252B-60B4-40D9-9D9B-2AD9ED49787B}" dt="2023-11-17T14:16:21.289" v="723" actId="947"/>
          <ac:spMkLst>
            <pc:docMk/>
            <pc:sldMk cId="1769867695" sldId="2392"/>
            <ac:spMk id="6" creationId="{00000000-0000-0000-0000-000000000000}"/>
          </ac:spMkLst>
        </pc:spChg>
        <pc:spChg chg="mod">
          <ac:chgData name="van Leeuwen  Sara (VPPL)" userId="7a5f1df4-0dd0-4c9e-a72f-a035cf318af6" providerId="ADAL" clId="{7439252B-60B4-40D9-9D9B-2AD9ED49787B}" dt="2023-11-17T14:16:21.289" v="725" actId="947"/>
          <ac:spMkLst>
            <pc:docMk/>
            <pc:sldMk cId="1769867695" sldId="2392"/>
            <ac:spMk id="7" creationId="{8B4571F4-CEEE-40D0-A216-BDA48C6DB1A7}"/>
          </ac:spMkLst>
        </pc:spChg>
        <pc:spChg chg="mod">
          <ac:chgData name="van Leeuwen  Sara (VPPL)" userId="7a5f1df4-0dd0-4c9e-a72f-a035cf318af6" providerId="ADAL" clId="{7439252B-60B4-40D9-9D9B-2AD9ED49787B}" dt="2023-11-17T14:16:21.273" v="721" actId="947"/>
          <ac:spMkLst>
            <pc:docMk/>
            <pc:sldMk cId="1769867695" sldId="2392"/>
            <ac:spMk id="8" creationId="{D75AFB06-C0D5-C44A-AFA0-9276A7192873}"/>
          </ac:spMkLst>
        </pc:spChg>
        <pc:spChg chg="add del mod modVis">
          <ac:chgData name="van Leeuwen  Sara (VPPL)" userId="7a5f1df4-0dd0-4c9e-a72f-a035cf318af6" providerId="ADAL" clId="{7439252B-60B4-40D9-9D9B-2AD9ED49787B}" dt="2023-11-21T14:06:19.736" v="3588"/>
          <ac:spMkLst>
            <pc:docMk/>
            <pc:sldMk cId="1769867695" sldId="2392"/>
            <ac:spMk id="9" creationId="{711431D1-04DF-D2E5-CD2A-35E66230CA46}"/>
          </ac:spMkLst>
        </pc:spChg>
        <pc:spChg chg="add del mod modVis">
          <ac:chgData name="van Leeuwen  Sara (VPPL)" userId="7a5f1df4-0dd0-4c9e-a72f-a035cf318af6" providerId="ADAL" clId="{7439252B-60B4-40D9-9D9B-2AD9ED49787B}" dt="2023-11-21T14:07:08.193" v="3621"/>
          <ac:spMkLst>
            <pc:docMk/>
            <pc:sldMk cId="1769867695" sldId="2392"/>
            <ac:spMk id="11" creationId="{98AFDF29-B8BE-D9BB-2FFF-123159DB279B}"/>
          </ac:spMkLst>
        </pc:spChg>
        <pc:spChg chg="add del mod modVis">
          <ac:chgData name="van Leeuwen  Sara (VPPL)" userId="7a5f1df4-0dd0-4c9e-a72f-a035cf318af6" providerId="ADAL" clId="{7439252B-60B4-40D9-9D9B-2AD9ED49787B}" dt="2023-11-21T14:07:08.902" v="3654"/>
          <ac:spMkLst>
            <pc:docMk/>
            <pc:sldMk cId="1769867695" sldId="2392"/>
            <ac:spMk id="12" creationId="{955F0FAF-7FA5-18B6-F935-C32617D681BB}"/>
          </ac:spMkLst>
        </pc:spChg>
        <pc:spChg chg="add del mod modVis">
          <ac:chgData name="van Leeuwen  Sara (VPPL)" userId="7a5f1df4-0dd0-4c9e-a72f-a035cf318af6" providerId="ADAL" clId="{7439252B-60B4-40D9-9D9B-2AD9ED49787B}" dt="2023-11-21T14:07:52.409" v="3822"/>
          <ac:spMkLst>
            <pc:docMk/>
            <pc:sldMk cId="1769867695" sldId="2392"/>
            <ac:spMk id="13" creationId="{5E8C53D2-BE16-C8B5-6047-3E250C4A471A}"/>
          </ac:spMkLst>
        </pc:spChg>
        <pc:graphicFrameChg chg="mod">
          <ac:chgData name="van Leeuwen  Sara (VPPL)" userId="7a5f1df4-0dd0-4c9e-a72f-a035cf318af6" providerId="ADAL" clId="{7439252B-60B4-40D9-9D9B-2AD9ED49787B}" dt="2023-11-21T14:07:52.424" v="3824"/>
          <ac:graphicFrameMkLst>
            <pc:docMk/>
            <pc:sldMk cId="1769867695" sldId="2392"/>
            <ac:graphicFrameMk id="5" creationId="{672A6001-9BB9-A627-E613-6E007AFFCCA1}"/>
          </ac:graphicFrameMkLst>
        </pc:graphicFrameChg>
        <pc:graphicFrameChg chg="mod modGraphic">
          <ac:chgData name="van Leeuwen  Sara (VPPL)" userId="7a5f1df4-0dd0-4c9e-a72f-a035cf318af6" providerId="ADAL" clId="{7439252B-60B4-40D9-9D9B-2AD9ED49787B}" dt="2023-11-22T13:34:14.997" v="4655" actId="20577"/>
          <ac:graphicFrameMkLst>
            <pc:docMk/>
            <pc:sldMk cId="1769867695" sldId="2392"/>
            <ac:graphicFrameMk id="10" creationId="{9B7E8B9D-5F9A-4F11-B14F-FECAB6CF2579}"/>
          </ac:graphicFrameMkLst>
        </pc:graphicFrameChg>
      </pc:sldChg>
      <pc:sldChg chg="addSp delSp modSp mod modNotes">
        <pc:chgData name="van Leeuwen  Sara (VPPL)" userId="7a5f1df4-0dd0-4c9e-a72f-a035cf318af6" providerId="ADAL" clId="{7439252B-60B4-40D9-9D9B-2AD9ED49787B}" dt="2023-11-22T13:09:56.802" v="4610" actId="20577"/>
        <pc:sldMkLst>
          <pc:docMk/>
          <pc:sldMk cId="2631741042" sldId="2394"/>
        </pc:sldMkLst>
        <pc:spChg chg="mod">
          <ac:chgData name="van Leeuwen  Sara (VPPL)" userId="7a5f1df4-0dd0-4c9e-a72f-a035cf318af6" providerId="ADAL" clId="{7439252B-60B4-40D9-9D9B-2AD9ED49787B}" dt="2023-11-17T14:16:22.939" v="2003" actId="948"/>
          <ac:spMkLst>
            <pc:docMk/>
            <pc:sldMk cId="2631741042" sldId="2394"/>
            <ac:spMk id="2" creationId="{C2543CB6-7CCE-4092-94E2-1F9AF86C92CD}"/>
          </ac:spMkLst>
        </pc:spChg>
        <pc:spChg chg="mod">
          <ac:chgData name="van Leeuwen  Sara (VPPL)" userId="7a5f1df4-0dd0-4c9e-a72f-a035cf318af6" providerId="ADAL" clId="{7439252B-60B4-40D9-9D9B-2AD9ED49787B}" dt="2023-11-22T13:09:56.802" v="4610" actId="20577"/>
          <ac:spMkLst>
            <pc:docMk/>
            <pc:sldMk cId="2631741042" sldId="2394"/>
            <ac:spMk id="3" creationId="{E9BBD3EE-C606-408E-8853-A8E4F45E02CE}"/>
          </ac:spMkLst>
        </pc:spChg>
        <pc:spChg chg="mod">
          <ac:chgData name="van Leeuwen  Sara (VPPL)" userId="7a5f1df4-0dd0-4c9e-a72f-a035cf318af6" providerId="ADAL" clId="{7439252B-60B4-40D9-9D9B-2AD9ED49787B}" dt="2023-11-17T14:16:21.038" v="491" actId="947"/>
          <ac:spMkLst>
            <pc:docMk/>
            <pc:sldMk cId="2631741042" sldId="2394"/>
            <ac:spMk id="4" creationId="{5E02C3D0-A359-4178-9EFD-2A2F1CCA3032}"/>
          </ac:spMkLst>
        </pc:spChg>
        <pc:spChg chg="mod">
          <ac:chgData name="van Leeuwen  Sara (VPPL)" userId="7a5f1df4-0dd0-4c9e-a72f-a035cf318af6" providerId="ADAL" clId="{7439252B-60B4-40D9-9D9B-2AD9ED49787B}" dt="2023-11-17T14:16:21.038" v="493" actId="947"/>
          <ac:spMkLst>
            <pc:docMk/>
            <pc:sldMk cId="2631741042" sldId="2394"/>
            <ac:spMk id="5" creationId="{0DF16D9C-E39F-48C7-B71A-BE99D6CB0F36}"/>
          </ac:spMkLst>
        </pc:spChg>
        <pc:spChg chg="mod">
          <ac:chgData name="van Leeuwen  Sara (VPPL)" userId="7a5f1df4-0dd0-4c9e-a72f-a035cf318af6" providerId="ADAL" clId="{7439252B-60B4-40D9-9D9B-2AD9ED49787B}" dt="2023-11-17T14:16:21.038" v="495" actId="947"/>
          <ac:spMkLst>
            <pc:docMk/>
            <pc:sldMk cId="2631741042" sldId="2394"/>
            <ac:spMk id="6" creationId="{9D80BE71-A9EF-4DB5-8695-34039A31964C}"/>
          </ac:spMkLst>
        </pc:spChg>
        <pc:spChg chg="mod">
          <ac:chgData name="van Leeuwen  Sara (VPPL)" userId="7a5f1df4-0dd0-4c9e-a72f-a035cf318af6" providerId="ADAL" clId="{7439252B-60B4-40D9-9D9B-2AD9ED49787B}" dt="2023-11-17T14:16:21.038" v="497" actId="947"/>
          <ac:spMkLst>
            <pc:docMk/>
            <pc:sldMk cId="2631741042" sldId="2394"/>
            <ac:spMk id="7" creationId="{E00086F2-3B9A-4050-BCCD-632B815B626F}"/>
          </ac:spMkLst>
        </pc:spChg>
        <pc:spChg chg="add del mod modVis">
          <ac:chgData name="van Leeuwen  Sara (VPPL)" userId="7a5f1df4-0dd0-4c9e-a72f-a035cf318af6" providerId="ADAL" clId="{7439252B-60B4-40D9-9D9B-2AD9ED49787B}" dt="2023-11-17T13:24:15.956" v="25"/>
          <ac:spMkLst>
            <pc:docMk/>
            <pc:sldMk cId="2631741042" sldId="2394"/>
            <ac:spMk id="8" creationId="{12E9969D-AB9C-0004-C5F5-9D55FC9E3692}"/>
          </ac:spMkLst>
        </pc:spChg>
        <pc:spChg chg="del mod modVis">
          <ac:chgData name="van Leeuwen  Sara (VPPL)" userId="7a5f1df4-0dd0-4c9e-a72f-a035cf318af6" providerId="ADAL" clId="{7439252B-60B4-40D9-9D9B-2AD9ED49787B}" dt="2023-11-17T14:16:23.489" v="2587" actId="478"/>
          <ac:spMkLst>
            <pc:docMk/>
            <pc:sldMk cId="2631741042" sldId="2394"/>
            <ac:spMk id="10" creationId="{C612DBBC-90FC-F2E2-876A-CBAC64615229}"/>
          </ac:spMkLst>
        </pc:spChg>
        <pc:graphicFrameChg chg="mod">
          <ac:chgData name="van Leeuwen  Sara (VPPL)" userId="7a5f1df4-0dd0-4c9e-a72f-a035cf318af6" providerId="ADAL" clId="{7439252B-60B4-40D9-9D9B-2AD9ED49787B}" dt="2023-11-17T14:16:23.489" v="2588" actId="1076"/>
          <ac:graphicFrameMkLst>
            <pc:docMk/>
            <pc:sldMk cId="2631741042" sldId="2394"/>
            <ac:graphicFrameMk id="9" creationId="{5FC14056-3291-216C-B428-AFA1A2516319}"/>
          </ac:graphicFrameMkLst>
        </pc:graphicFrameChg>
      </pc:sldChg>
      <pc:sldChg chg="delSp modSp mod modNotes">
        <pc:chgData name="van Leeuwen  Sara (VPPL)" userId="7a5f1df4-0dd0-4c9e-a72f-a035cf318af6" providerId="ADAL" clId="{7439252B-60B4-40D9-9D9B-2AD9ED49787B}" dt="2023-11-20T14:20:11.622" v="3131"/>
        <pc:sldMkLst>
          <pc:docMk/>
          <pc:sldMk cId="282434247" sldId="2395"/>
        </pc:sldMkLst>
        <pc:spChg chg="mod">
          <ac:chgData name="van Leeuwen  Sara (VPPL)" userId="7a5f1df4-0dd0-4c9e-a72f-a035cf318af6" providerId="ADAL" clId="{7439252B-60B4-40D9-9D9B-2AD9ED49787B}" dt="2023-11-20T14:20:11.622" v="3127" actId="948"/>
          <ac:spMkLst>
            <pc:docMk/>
            <pc:sldMk cId="282434247" sldId="2395"/>
            <ac:spMk id="2" creationId="{C2543CB6-7CCE-4092-94E2-1F9AF86C92CD}"/>
          </ac:spMkLst>
        </pc:spChg>
        <pc:spChg chg="mod">
          <ac:chgData name="van Leeuwen  Sara (VPPL)" userId="7a5f1df4-0dd0-4c9e-a72f-a035cf318af6" providerId="ADAL" clId="{7439252B-60B4-40D9-9D9B-2AD9ED49787B}" dt="2023-11-20T14:19:58.305" v="3101" actId="13926"/>
          <ac:spMkLst>
            <pc:docMk/>
            <pc:sldMk cId="282434247" sldId="2395"/>
            <ac:spMk id="3" creationId="{E9BBD3EE-C606-408E-8853-A8E4F45E02CE}"/>
          </ac:spMkLst>
        </pc:spChg>
        <pc:spChg chg="mod">
          <ac:chgData name="van Leeuwen  Sara (VPPL)" userId="7a5f1df4-0dd0-4c9e-a72f-a035cf318af6" providerId="ADAL" clId="{7439252B-60B4-40D9-9D9B-2AD9ED49787B}" dt="2023-11-17T14:16:21.227" v="669" actId="947"/>
          <ac:spMkLst>
            <pc:docMk/>
            <pc:sldMk cId="282434247" sldId="2395"/>
            <ac:spMk id="4" creationId="{5E02C3D0-A359-4178-9EFD-2A2F1CCA3032}"/>
          </ac:spMkLst>
        </pc:spChg>
        <pc:spChg chg="mod">
          <ac:chgData name="van Leeuwen  Sara (VPPL)" userId="7a5f1df4-0dd0-4c9e-a72f-a035cf318af6" providerId="ADAL" clId="{7439252B-60B4-40D9-9D9B-2AD9ED49787B}" dt="2023-11-17T14:16:21.227" v="671" actId="947"/>
          <ac:spMkLst>
            <pc:docMk/>
            <pc:sldMk cId="282434247" sldId="2395"/>
            <ac:spMk id="5" creationId="{0DF16D9C-E39F-48C7-B71A-BE99D6CB0F36}"/>
          </ac:spMkLst>
        </pc:spChg>
        <pc:spChg chg="mod">
          <ac:chgData name="van Leeuwen  Sara (VPPL)" userId="7a5f1df4-0dd0-4c9e-a72f-a035cf318af6" providerId="ADAL" clId="{7439252B-60B4-40D9-9D9B-2AD9ED49787B}" dt="2023-11-17T14:16:21.242" v="673" actId="947"/>
          <ac:spMkLst>
            <pc:docMk/>
            <pc:sldMk cId="282434247" sldId="2395"/>
            <ac:spMk id="6" creationId="{9D80BE71-A9EF-4DB5-8695-34039A31964C}"/>
          </ac:spMkLst>
        </pc:spChg>
        <pc:spChg chg="del mod modVis">
          <ac:chgData name="van Leeuwen  Sara (VPPL)" userId="7a5f1df4-0dd0-4c9e-a72f-a035cf318af6" providerId="ADAL" clId="{7439252B-60B4-40D9-9D9B-2AD9ED49787B}" dt="2023-11-17T14:16:23.505" v="2600" actId="478"/>
          <ac:spMkLst>
            <pc:docMk/>
            <pc:sldMk cId="282434247" sldId="2395"/>
            <ac:spMk id="7" creationId="{7975C4BB-7AA2-EF2A-7922-8E670C7FEA5F}"/>
          </ac:spMkLst>
        </pc:spChg>
        <pc:spChg chg="mod">
          <ac:chgData name="van Leeuwen  Sara (VPPL)" userId="7a5f1df4-0dd0-4c9e-a72f-a035cf318af6" providerId="ADAL" clId="{7439252B-60B4-40D9-9D9B-2AD9ED49787B}" dt="2023-11-17T14:16:21.242" v="675" actId="947"/>
          <ac:spMkLst>
            <pc:docMk/>
            <pc:sldMk cId="282434247" sldId="2395"/>
            <ac:spMk id="12" creationId="{B77F3B61-CF9E-0A76-1E14-43DB665C527A}"/>
          </ac:spMkLst>
        </pc:spChg>
        <pc:graphicFrameChg chg="mod">
          <ac:chgData name="van Leeuwen  Sara (VPPL)" userId="7a5f1df4-0dd0-4c9e-a72f-a035cf318af6" providerId="ADAL" clId="{7439252B-60B4-40D9-9D9B-2AD9ED49787B}" dt="2023-11-20T14:20:11.622" v="3131"/>
          <ac:graphicFrameMkLst>
            <pc:docMk/>
            <pc:sldMk cId="282434247" sldId="2395"/>
            <ac:graphicFrameMk id="9" creationId="{8900C09A-BEC2-F04F-B75E-1370CB4A0336}"/>
          </ac:graphicFrameMkLst>
        </pc:graphicFrameChg>
      </pc:sldChg>
      <pc:sldChg chg="addSp delSp modSp mod modNotes">
        <pc:chgData name="van Leeuwen  Sara (VPPL)" userId="7a5f1df4-0dd0-4c9e-a72f-a035cf318af6" providerId="ADAL" clId="{7439252B-60B4-40D9-9D9B-2AD9ED49787B}" dt="2023-11-20T14:33:03.596" v="3237" actId="1035"/>
        <pc:sldMkLst>
          <pc:docMk/>
          <pc:sldMk cId="54911923" sldId="2398"/>
        </pc:sldMkLst>
        <pc:spChg chg="mod">
          <ac:chgData name="van Leeuwen  Sara (VPPL)" userId="7a5f1df4-0dd0-4c9e-a72f-a035cf318af6" providerId="ADAL" clId="{7439252B-60B4-40D9-9D9B-2AD9ED49787B}" dt="2023-11-17T14:16:21.352" v="827" actId="947"/>
          <ac:spMkLst>
            <pc:docMk/>
            <pc:sldMk cId="54911923" sldId="2398"/>
            <ac:spMk id="4" creationId="{B5E241A7-3157-41BC-8F34-087641E61DF5}"/>
          </ac:spMkLst>
        </pc:spChg>
        <pc:spChg chg="add del mod modVis">
          <ac:chgData name="van Leeuwen  Sara (VPPL)" userId="7a5f1df4-0dd0-4c9e-a72f-a035cf318af6" providerId="ADAL" clId="{7439252B-60B4-40D9-9D9B-2AD9ED49787B}" dt="2023-11-20T14:21:49.842" v="3156"/>
          <ac:spMkLst>
            <pc:docMk/>
            <pc:sldMk cId="54911923" sldId="2398"/>
            <ac:spMk id="5" creationId="{40A69E33-98CB-EBC5-4760-A375309615AD}"/>
          </ac:spMkLst>
        </pc:spChg>
        <pc:spChg chg="del mod modVis">
          <ac:chgData name="van Leeuwen  Sara (VPPL)" userId="7a5f1df4-0dd0-4c9e-a72f-a035cf318af6" providerId="ADAL" clId="{7439252B-60B4-40D9-9D9B-2AD9ED49787B}" dt="2023-11-17T14:16:23.505" v="2608" actId="478"/>
          <ac:spMkLst>
            <pc:docMk/>
            <pc:sldMk cId="54911923" sldId="2398"/>
            <ac:spMk id="5" creationId="{4811F4E2-98F5-133D-0A02-9947C86B496E}"/>
          </ac:spMkLst>
        </pc:spChg>
        <pc:spChg chg="mod">
          <ac:chgData name="van Leeuwen  Sara (VPPL)" userId="7a5f1df4-0dd0-4c9e-a72f-a035cf318af6" providerId="ADAL" clId="{7439252B-60B4-40D9-9D9B-2AD9ED49787B}" dt="2023-11-17T14:16:21.352" v="829" actId="947"/>
          <ac:spMkLst>
            <pc:docMk/>
            <pc:sldMk cId="54911923" sldId="2398"/>
            <ac:spMk id="6" creationId="{C3EB1F58-4C36-41B8-9CB6-6A2B034CA338}"/>
          </ac:spMkLst>
        </pc:spChg>
        <pc:spChg chg="mod">
          <ac:chgData name="van Leeuwen  Sara (VPPL)" userId="7a5f1df4-0dd0-4c9e-a72f-a035cf318af6" providerId="ADAL" clId="{7439252B-60B4-40D9-9D9B-2AD9ED49787B}" dt="2023-11-20T14:21:49.796" v="3133" actId="948"/>
          <ac:spMkLst>
            <pc:docMk/>
            <pc:sldMk cId="54911923" sldId="2398"/>
            <ac:spMk id="7" creationId="{6DAAECCB-C308-43C7-82C6-BAB1F3827081}"/>
          </ac:spMkLst>
        </pc:spChg>
        <pc:spChg chg="mod">
          <ac:chgData name="van Leeuwen  Sara (VPPL)" userId="7a5f1df4-0dd0-4c9e-a72f-a035cf318af6" providerId="ADAL" clId="{7439252B-60B4-40D9-9D9B-2AD9ED49787B}" dt="2023-11-20T14:33:03.596" v="3237" actId="1035"/>
          <ac:spMkLst>
            <pc:docMk/>
            <pc:sldMk cId="54911923" sldId="2398"/>
            <ac:spMk id="10" creationId="{138B6753-7E47-4337-A6F5-5627C2C413FE}"/>
          </ac:spMkLst>
        </pc:spChg>
        <pc:spChg chg="mod">
          <ac:chgData name="van Leeuwen  Sara (VPPL)" userId="7a5f1df4-0dd0-4c9e-a72f-a035cf318af6" providerId="ADAL" clId="{7439252B-60B4-40D9-9D9B-2AD9ED49787B}" dt="2023-11-17T14:16:21.368" v="833" actId="947"/>
          <ac:spMkLst>
            <pc:docMk/>
            <pc:sldMk cId="54911923" sldId="2398"/>
            <ac:spMk id="14" creationId="{561B912D-C211-4E3C-BB22-7EFACE7DA23D}"/>
          </ac:spMkLst>
        </pc:spChg>
        <pc:spChg chg="mod">
          <ac:chgData name="van Leeuwen  Sara (VPPL)" userId="7a5f1df4-0dd0-4c9e-a72f-a035cf318af6" providerId="ADAL" clId="{7439252B-60B4-40D9-9D9B-2AD9ED49787B}" dt="2023-11-20T14:32:49.938" v="3216" actId="1036"/>
          <ac:spMkLst>
            <pc:docMk/>
            <pc:sldMk cId="54911923" sldId="2398"/>
            <ac:spMk id="18" creationId="{CD141509-65BB-4E73-9F6E-7D1C39894F21}"/>
          </ac:spMkLst>
        </pc:spChg>
        <pc:spChg chg="mod">
          <ac:chgData name="van Leeuwen  Sara (VPPL)" userId="7a5f1df4-0dd0-4c9e-a72f-a035cf318af6" providerId="ADAL" clId="{7439252B-60B4-40D9-9D9B-2AD9ED49787B}" dt="2023-11-17T14:16:21.383" v="841" actId="947"/>
          <ac:spMkLst>
            <pc:docMk/>
            <pc:sldMk cId="54911923" sldId="2398"/>
            <ac:spMk id="21" creationId="{189F72B7-0371-E235-F696-891E2B3B8EAA}"/>
          </ac:spMkLst>
        </pc:spChg>
        <pc:spChg chg="mod">
          <ac:chgData name="van Leeuwen  Sara (VPPL)" userId="7a5f1df4-0dd0-4c9e-a72f-a035cf318af6" providerId="ADAL" clId="{7439252B-60B4-40D9-9D9B-2AD9ED49787B}" dt="2023-11-17T14:16:21.383" v="843" actId="947"/>
          <ac:spMkLst>
            <pc:docMk/>
            <pc:sldMk cId="54911923" sldId="2398"/>
            <ac:spMk id="22" creationId="{CD6A7308-16BD-0457-C9AD-D60ED7C5E243}"/>
          </ac:spMkLst>
        </pc:spChg>
        <pc:spChg chg="mod">
          <ac:chgData name="van Leeuwen  Sara (VPPL)" userId="7a5f1df4-0dd0-4c9e-a72f-a035cf318af6" providerId="ADAL" clId="{7439252B-60B4-40D9-9D9B-2AD9ED49787B}" dt="2023-11-20T14:32:40.346" v="3195" actId="1035"/>
          <ac:spMkLst>
            <pc:docMk/>
            <pc:sldMk cId="54911923" sldId="2398"/>
            <ac:spMk id="37" creationId="{166FA689-72C3-40C8-B811-164178E71FB6}"/>
          </ac:spMkLst>
        </pc:spChg>
        <pc:graphicFrameChg chg="mod">
          <ac:chgData name="van Leeuwen  Sara (VPPL)" userId="7a5f1df4-0dd0-4c9e-a72f-a035cf318af6" providerId="ADAL" clId="{7439252B-60B4-40D9-9D9B-2AD9ED49787B}" dt="2023-11-20T14:21:49.842" v="3158"/>
          <ac:graphicFrameMkLst>
            <pc:docMk/>
            <pc:sldMk cId="54911923" sldId="2398"/>
            <ac:graphicFrameMk id="3" creationId="{D1EE29B1-71E6-4C96-BE1D-B1770E8F62DA}"/>
          </ac:graphicFrameMkLst>
        </pc:graphicFrameChg>
        <pc:picChg chg="mod">
          <ac:chgData name="van Leeuwen  Sara (VPPL)" userId="7a5f1df4-0dd0-4c9e-a72f-a035cf318af6" providerId="ADAL" clId="{7439252B-60B4-40D9-9D9B-2AD9ED49787B}" dt="2023-11-20T14:33:03.596" v="3237" actId="1035"/>
          <ac:picMkLst>
            <pc:docMk/>
            <pc:sldMk cId="54911923" sldId="2398"/>
            <ac:picMk id="12" creationId="{9E3EC575-CB3E-46FD-88AC-583E8090BE5B}"/>
          </ac:picMkLst>
        </pc:picChg>
        <pc:picChg chg="mod">
          <ac:chgData name="van Leeuwen  Sara (VPPL)" userId="7a5f1df4-0dd0-4c9e-a72f-a035cf318af6" providerId="ADAL" clId="{7439252B-60B4-40D9-9D9B-2AD9ED49787B}" dt="2023-11-20T14:32:49.938" v="3216" actId="1036"/>
          <ac:picMkLst>
            <pc:docMk/>
            <pc:sldMk cId="54911923" sldId="2398"/>
            <ac:picMk id="20" creationId="{8D7E286F-D8F6-4351-A36B-AFE55DB2E4B8}"/>
          </ac:picMkLst>
        </pc:picChg>
      </pc:sldChg>
      <pc:sldChg chg="addSp delSp modSp mod modNotes">
        <pc:chgData name="van Leeuwen  Sara (VPPL)" userId="7a5f1df4-0dd0-4c9e-a72f-a035cf318af6" providerId="ADAL" clId="{7439252B-60B4-40D9-9D9B-2AD9ED49787B}" dt="2023-11-17T15:28:38.541" v="2749"/>
        <pc:sldMkLst>
          <pc:docMk/>
          <pc:sldMk cId="1578806444" sldId="2407"/>
        </pc:sldMkLst>
        <pc:spChg chg="mod">
          <ac:chgData name="van Leeuwen  Sara (VPPL)" userId="7a5f1df4-0dd0-4c9e-a72f-a035cf318af6" providerId="ADAL" clId="{7439252B-60B4-40D9-9D9B-2AD9ED49787B}" dt="2023-11-17T15:28:38.517" v="2724" actId="948"/>
          <ac:spMkLst>
            <pc:docMk/>
            <pc:sldMk cId="1578806444" sldId="2407"/>
            <ac:spMk id="2" creationId="{79A1C4D2-CFB3-461C-AF47-77E2FE13A7D1}"/>
          </ac:spMkLst>
        </pc:spChg>
        <pc:spChg chg="mod">
          <ac:chgData name="van Leeuwen  Sara (VPPL)" userId="7a5f1df4-0dd0-4c9e-a72f-a035cf318af6" providerId="ADAL" clId="{7439252B-60B4-40D9-9D9B-2AD9ED49787B}" dt="2023-11-17T14:16:21.022" v="477" actId="947"/>
          <ac:spMkLst>
            <pc:docMk/>
            <pc:sldMk cId="1578806444" sldId="2407"/>
            <ac:spMk id="3" creationId="{0388AFFD-3076-49B5-B0DE-559A52DA68A3}"/>
          </ac:spMkLst>
        </pc:spChg>
        <pc:spChg chg="mod">
          <ac:chgData name="van Leeuwen  Sara (VPPL)" userId="7a5f1df4-0dd0-4c9e-a72f-a035cf318af6" providerId="ADAL" clId="{7439252B-60B4-40D9-9D9B-2AD9ED49787B}" dt="2023-11-17T14:16:21.022" v="479" actId="947"/>
          <ac:spMkLst>
            <pc:docMk/>
            <pc:sldMk cId="1578806444" sldId="2407"/>
            <ac:spMk id="4" creationId="{9CA1C58A-C168-4EDF-B8E5-CC4D577EF906}"/>
          </ac:spMkLst>
        </pc:spChg>
        <pc:spChg chg="mod">
          <ac:chgData name="van Leeuwen  Sara (VPPL)" userId="7a5f1df4-0dd0-4c9e-a72f-a035cf318af6" providerId="ADAL" clId="{7439252B-60B4-40D9-9D9B-2AD9ED49787B}" dt="2023-11-17T14:16:21.022" v="481" actId="947"/>
          <ac:spMkLst>
            <pc:docMk/>
            <pc:sldMk cId="1578806444" sldId="2407"/>
            <ac:spMk id="5" creationId="{85D9BC9D-3DA7-45F6-B926-A87C277DD9F8}"/>
          </ac:spMkLst>
        </pc:spChg>
        <pc:spChg chg="mod">
          <ac:chgData name="van Leeuwen  Sara (VPPL)" userId="7a5f1df4-0dd0-4c9e-a72f-a035cf318af6" providerId="ADAL" clId="{7439252B-60B4-40D9-9D9B-2AD9ED49787B}" dt="2023-11-17T14:16:21.022" v="483" actId="947"/>
          <ac:spMkLst>
            <pc:docMk/>
            <pc:sldMk cId="1578806444" sldId="2407"/>
            <ac:spMk id="6" creationId="{10B85623-378B-4EB9-AA11-55C1EBD36CD0}"/>
          </ac:spMkLst>
        </pc:spChg>
        <pc:spChg chg="del mod modVis">
          <ac:chgData name="van Leeuwen  Sara (VPPL)" userId="7a5f1df4-0dd0-4c9e-a72f-a035cf318af6" providerId="ADAL" clId="{7439252B-60B4-40D9-9D9B-2AD9ED49787B}" dt="2023-11-17T14:16:23.489" v="2585" actId="478"/>
          <ac:spMkLst>
            <pc:docMk/>
            <pc:sldMk cId="1578806444" sldId="2407"/>
            <ac:spMk id="7" creationId="{379AB4D6-3A04-3EDF-ACB7-16C7A39B53A1}"/>
          </ac:spMkLst>
        </pc:spChg>
        <pc:spChg chg="mod">
          <ac:chgData name="van Leeuwen  Sara (VPPL)" userId="7a5f1df4-0dd0-4c9e-a72f-a035cf318af6" providerId="ADAL" clId="{7439252B-60B4-40D9-9D9B-2AD9ED49787B}" dt="2023-11-17T14:16:21.022" v="485" actId="947"/>
          <ac:spMkLst>
            <pc:docMk/>
            <pc:sldMk cId="1578806444" sldId="2407"/>
            <ac:spMk id="8" creationId="{3F810E95-1E33-40B3-B601-24721E2C7DA5}"/>
          </ac:spMkLst>
        </pc:spChg>
        <pc:spChg chg="add del mod modVis">
          <ac:chgData name="van Leeuwen  Sara (VPPL)" userId="7a5f1df4-0dd0-4c9e-a72f-a035cf318af6" providerId="ADAL" clId="{7439252B-60B4-40D9-9D9B-2AD9ED49787B}" dt="2023-11-17T15:28:38.533" v="2747"/>
          <ac:spMkLst>
            <pc:docMk/>
            <pc:sldMk cId="1578806444" sldId="2407"/>
            <ac:spMk id="9" creationId="{D0137301-0964-AAC9-1099-52F19D30E3F8}"/>
          </ac:spMkLst>
        </pc:spChg>
        <pc:graphicFrameChg chg="mod">
          <ac:chgData name="van Leeuwen  Sara (VPPL)" userId="7a5f1df4-0dd0-4c9e-a72f-a035cf318af6" providerId="ADAL" clId="{7439252B-60B4-40D9-9D9B-2AD9ED49787B}" dt="2023-11-17T15:28:38.541" v="2749"/>
          <ac:graphicFrameMkLst>
            <pc:docMk/>
            <pc:sldMk cId="1578806444" sldId="2407"/>
            <ac:graphicFrameMk id="10" creationId="{6E928AC6-A280-4B48-BF6E-F71D1C3E3167}"/>
          </ac:graphicFrameMkLst>
        </pc:graphicFrameChg>
      </pc:sldChg>
      <pc:sldChg chg="delSp modSp mod modNotes">
        <pc:chgData name="van Leeuwen  Sara (VPPL)" userId="7a5f1df4-0dd0-4c9e-a72f-a035cf318af6" providerId="ADAL" clId="{7439252B-60B4-40D9-9D9B-2AD9ED49787B}" dt="2023-11-21T14:07:58.864" v="3835"/>
        <pc:sldMkLst>
          <pc:docMk/>
          <pc:sldMk cId="2354758104" sldId="2408"/>
        </pc:sldMkLst>
        <pc:spChg chg="mod">
          <ac:chgData name="van Leeuwen  Sara (VPPL)" userId="7a5f1df4-0dd0-4c9e-a72f-a035cf318af6" providerId="ADAL" clId="{7439252B-60B4-40D9-9D9B-2AD9ED49787B}" dt="2023-11-21T14:07:58.864" v="3831" actId="948"/>
          <ac:spMkLst>
            <pc:docMk/>
            <pc:sldMk cId="2354758104" sldId="2408"/>
            <ac:spMk id="2" creationId="{00000000-0000-0000-0000-000000000000}"/>
          </ac:spMkLst>
        </pc:spChg>
        <pc:spChg chg="del mod modVis">
          <ac:chgData name="van Leeuwen  Sara (VPPL)" userId="7a5f1df4-0dd0-4c9e-a72f-a035cf318af6" providerId="ADAL" clId="{7439252B-60B4-40D9-9D9B-2AD9ED49787B}" dt="2023-11-17T14:16:23.505" v="2606" actId="478"/>
          <ac:spMkLst>
            <pc:docMk/>
            <pc:sldMk cId="2354758104" sldId="2408"/>
            <ac:spMk id="3" creationId="{CFEA4658-2C58-3DB8-2044-1A947CA09A59}"/>
          </ac:spMkLst>
        </pc:spChg>
        <pc:spChg chg="mod">
          <ac:chgData name="van Leeuwen  Sara (VPPL)" userId="7a5f1df4-0dd0-4c9e-a72f-a035cf318af6" providerId="ADAL" clId="{7439252B-60B4-40D9-9D9B-2AD9ED49787B}" dt="2023-11-17T14:16:21.336" v="787" actId="947"/>
          <ac:spMkLst>
            <pc:docMk/>
            <pc:sldMk cId="2354758104" sldId="2408"/>
            <ac:spMk id="4" creationId="{00000000-0000-0000-0000-000000000000}"/>
          </ac:spMkLst>
        </pc:spChg>
        <pc:spChg chg="mod">
          <ac:chgData name="van Leeuwen  Sara (VPPL)" userId="7a5f1df4-0dd0-4c9e-a72f-a035cf318af6" providerId="ADAL" clId="{7439252B-60B4-40D9-9D9B-2AD9ED49787B}" dt="2023-11-17T14:16:21.336" v="791" actId="947"/>
          <ac:spMkLst>
            <pc:docMk/>
            <pc:sldMk cId="2354758104" sldId="2408"/>
            <ac:spMk id="6" creationId="{00000000-0000-0000-0000-000000000000}"/>
          </ac:spMkLst>
        </pc:spChg>
        <pc:spChg chg="mod">
          <ac:chgData name="van Leeuwen  Sara (VPPL)" userId="7a5f1df4-0dd0-4c9e-a72f-a035cf318af6" providerId="ADAL" clId="{7439252B-60B4-40D9-9D9B-2AD9ED49787B}" dt="2023-11-17T14:16:21.336" v="789" actId="947"/>
          <ac:spMkLst>
            <pc:docMk/>
            <pc:sldMk cId="2354758104" sldId="2408"/>
            <ac:spMk id="8" creationId="{D75AFB06-C0D5-C44A-AFA0-9276A7192873}"/>
          </ac:spMkLst>
        </pc:spChg>
        <pc:spChg chg="mod">
          <ac:chgData name="van Leeuwen  Sara (VPPL)" userId="7a5f1df4-0dd0-4c9e-a72f-a035cf318af6" providerId="ADAL" clId="{7439252B-60B4-40D9-9D9B-2AD9ED49787B}" dt="2023-11-17T14:16:21.336" v="785" actId="947"/>
          <ac:spMkLst>
            <pc:docMk/>
            <pc:sldMk cId="2354758104" sldId="2408"/>
            <ac:spMk id="9" creationId="{B6B24EFB-329E-4BDB-8682-2837E8093CA9}"/>
          </ac:spMkLst>
        </pc:spChg>
        <pc:spChg chg="mod">
          <ac:chgData name="van Leeuwen  Sara (VPPL)" userId="7a5f1df4-0dd0-4c9e-a72f-a035cf318af6" providerId="ADAL" clId="{7439252B-60B4-40D9-9D9B-2AD9ED49787B}" dt="2023-11-17T14:16:21.352" v="825" actId="947"/>
          <ac:spMkLst>
            <pc:docMk/>
            <pc:sldMk cId="2354758104" sldId="2408"/>
            <ac:spMk id="11" creationId="{5EE19B10-BD32-4855-BF14-2D427D1BFDF4}"/>
          </ac:spMkLst>
        </pc:spChg>
        <pc:graphicFrameChg chg="mod">
          <ac:chgData name="van Leeuwen  Sara (VPPL)" userId="7a5f1df4-0dd0-4c9e-a72f-a035cf318af6" providerId="ADAL" clId="{7439252B-60B4-40D9-9D9B-2AD9ED49787B}" dt="2023-11-21T14:07:58.864" v="3835"/>
          <ac:graphicFrameMkLst>
            <pc:docMk/>
            <pc:sldMk cId="2354758104" sldId="2408"/>
            <ac:graphicFrameMk id="5" creationId="{4EFD790E-C509-15F3-A548-0254A67D74B6}"/>
          </ac:graphicFrameMkLst>
        </pc:graphicFrameChg>
        <pc:graphicFrameChg chg="mod modGraphic">
          <ac:chgData name="van Leeuwen  Sara (VPPL)" userId="7a5f1df4-0dd0-4c9e-a72f-a035cf318af6" providerId="ADAL" clId="{7439252B-60B4-40D9-9D9B-2AD9ED49787B}" dt="2023-11-21T13:27:25.481" v="3436" actId="313"/>
          <ac:graphicFrameMkLst>
            <pc:docMk/>
            <pc:sldMk cId="2354758104" sldId="2408"/>
            <ac:graphicFrameMk id="10" creationId="{9B7E8B9D-5F9A-4F11-B14F-FECAB6CF2579}"/>
          </ac:graphicFrameMkLst>
        </pc:graphicFrameChg>
      </pc:sldChg>
      <pc:sldChg chg="delSp modSp del mod modNotes">
        <pc:chgData name="van Leeuwen  Sara (VPPL)" userId="7a5f1df4-0dd0-4c9e-a72f-a035cf318af6" providerId="ADAL" clId="{7439252B-60B4-40D9-9D9B-2AD9ED49787B}" dt="2023-11-21T14:27:22.051" v="3940" actId="47"/>
        <pc:sldMkLst>
          <pc:docMk/>
          <pc:sldMk cId="1776128425" sldId="2412"/>
        </pc:sldMkLst>
        <pc:spChg chg="mod">
          <ac:chgData name="van Leeuwen  Sara (VPPL)" userId="7a5f1df4-0dd0-4c9e-a72f-a035cf318af6" providerId="ADAL" clId="{7439252B-60B4-40D9-9D9B-2AD9ED49787B}" dt="2023-11-17T14:16:23.128" v="2213" actId="948"/>
          <ac:spMkLst>
            <pc:docMk/>
            <pc:sldMk cId="1776128425" sldId="2412"/>
            <ac:spMk id="2" creationId="{FC65B3EF-08EF-432C-BEBF-CB2B499FB533}"/>
          </ac:spMkLst>
        </pc:spChg>
        <pc:spChg chg="mod">
          <ac:chgData name="van Leeuwen  Sara (VPPL)" userId="7a5f1df4-0dd0-4c9e-a72f-a035cf318af6" providerId="ADAL" clId="{7439252B-60B4-40D9-9D9B-2AD9ED49787B}" dt="2023-11-17T14:16:21.399" v="847" actId="947"/>
          <ac:spMkLst>
            <pc:docMk/>
            <pc:sldMk cId="1776128425" sldId="2412"/>
            <ac:spMk id="3" creationId="{D248A836-D270-48AC-93BC-E789F2E8E734}"/>
          </ac:spMkLst>
        </pc:spChg>
        <pc:spChg chg="mod">
          <ac:chgData name="van Leeuwen  Sara (VPPL)" userId="7a5f1df4-0dd0-4c9e-a72f-a035cf318af6" providerId="ADAL" clId="{7439252B-60B4-40D9-9D9B-2AD9ED49787B}" dt="2023-11-17T14:16:21.399" v="849" actId="947"/>
          <ac:spMkLst>
            <pc:docMk/>
            <pc:sldMk cId="1776128425" sldId="2412"/>
            <ac:spMk id="4" creationId="{305442D0-14ED-4C2A-A91B-14866EB77D60}"/>
          </ac:spMkLst>
        </pc:spChg>
        <pc:spChg chg="mod">
          <ac:chgData name="van Leeuwen  Sara (VPPL)" userId="7a5f1df4-0dd0-4c9e-a72f-a035cf318af6" providerId="ADAL" clId="{7439252B-60B4-40D9-9D9B-2AD9ED49787B}" dt="2023-11-17T14:16:21.399" v="851" actId="947"/>
          <ac:spMkLst>
            <pc:docMk/>
            <pc:sldMk cId="1776128425" sldId="2412"/>
            <ac:spMk id="5" creationId="{B057CD9C-7E82-4EE5-8D4A-CF1F831FF9E4}"/>
          </ac:spMkLst>
        </pc:spChg>
        <pc:spChg chg="mod">
          <ac:chgData name="van Leeuwen  Sara (VPPL)" userId="7a5f1df4-0dd0-4c9e-a72f-a035cf318af6" providerId="ADAL" clId="{7439252B-60B4-40D9-9D9B-2AD9ED49787B}" dt="2023-11-17T14:16:21.399" v="853" actId="947"/>
          <ac:spMkLst>
            <pc:docMk/>
            <pc:sldMk cId="1776128425" sldId="2412"/>
            <ac:spMk id="6" creationId="{727CB4E9-0DB2-4603-A8AD-72263838A1CA}"/>
          </ac:spMkLst>
        </pc:spChg>
        <pc:spChg chg="mod">
          <ac:chgData name="van Leeuwen  Sara (VPPL)" userId="7a5f1df4-0dd0-4c9e-a72f-a035cf318af6" providerId="ADAL" clId="{7439252B-60B4-40D9-9D9B-2AD9ED49787B}" dt="2023-11-17T14:16:21.399" v="855" actId="947"/>
          <ac:spMkLst>
            <pc:docMk/>
            <pc:sldMk cId="1776128425" sldId="2412"/>
            <ac:spMk id="7" creationId="{4EEF28D3-ECB8-4C59-9270-E65402E2F891}"/>
          </ac:spMkLst>
        </pc:spChg>
        <pc:spChg chg="mod">
          <ac:chgData name="van Leeuwen  Sara (VPPL)" userId="7a5f1df4-0dd0-4c9e-a72f-a035cf318af6" providerId="ADAL" clId="{7439252B-60B4-40D9-9D9B-2AD9ED49787B}" dt="2023-11-21T14:27:11.765" v="3935" actId="21"/>
          <ac:spMkLst>
            <pc:docMk/>
            <pc:sldMk cId="1776128425" sldId="2412"/>
            <ac:spMk id="9" creationId="{0E2807F2-D9BD-433B-B6EF-CF115AF7F215}"/>
          </ac:spMkLst>
        </pc:spChg>
        <pc:spChg chg="del mod modVis">
          <ac:chgData name="van Leeuwen  Sara (VPPL)" userId="7a5f1df4-0dd0-4c9e-a72f-a035cf318af6" providerId="ADAL" clId="{7439252B-60B4-40D9-9D9B-2AD9ED49787B}" dt="2023-11-17T14:16:23.517" v="2610" actId="478"/>
          <ac:spMkLst>
            <pc:docMk/>
            <pc:sldMk cId="1776128425" sldId="2412"/>
            <ac:spMk id="11" creationId="{F341DD20-C1D7-4B2A-C0B9-19E51FC2D136}"/>
          </ac:spMkLst>
        </pc:spChg>
        <pc:spChg chg="mod">
          <ac:chgData name="van Leeuwen  Sara (VPPL)" userId="7a5f1df4-0dd0-4c9e-a72f-a035cf318af6" providerId="ADAL" clId="{7439252B-60B4-40D9-9D9B-2AD9ED49787B}" dt="2023-11-17T14:16:21.399" v="857" actId="947"/>
          <ac:spMkLst>
            <pc:docMk/>
            <pc:sldMk cId="1776128425" sldId="2412"/>
            <ac:spMk id="13" creationId="{2B68A964-FCDE-4A36-85BA-08758536C95C}"/>
          </ac:spMkLst>
        </pc:spChg>
        <pc:graphicFrameChg chg="mod">
          <ac:chgData name="van Leeuwen  Sara (VPPL)" userId="7a5f1df4-0dd0-4c9e-a72f-a035cf318af6" providerId="ADAL" clId="{7439252B-60B4-40D9-9D9B-2AD9ED49787B}" dt="2023-11-17T14:16:23.517" v="2611" actId="1076"/>
          <ac:graphicFrameMkLst>
            <pc:docMk/>
            <pc:sldMk cId="1776128425" sldId="2412"/>
            <ac:graphicFrameMk id="15" creationId="{FDC0E8DE-1F70-9615-CBCD-D5F5B6F88FCD}"/>
          </ac:graphicFrameMkLst>
        </pc:graphicFrameChg>
      </pc:sldChg>
      <pc:sldChg chg="delSp modSp del mod modNotes">
        <pc:chgData name="van Leeuwen  Sara (VPPL)" userId="7a5f1df4-0dd0-4c9e-a72f-a035cf318af6" providerId="ADAL" clId="{7439252B-60B4-40D9-9D9B-2AD9ED49787B}" dt="2023-11-21T13:28:00.161" v="3440" actId="47"/>
        <pc:sldMkLst>
          <pc:docMk/>
          <pc:sldMk cId="456252200" sldId="2414"/>
        </pc:sldMkLst>
        <pc:spChg chg="mod">
          <ac:chgData name="van Leeuwen  Sara (VPPL)" userId="7a5f1df4-0dd0-4c9e-a72f-a035cf318af6" providerId="ADAL" clId="{7439252B-60B4-40D9-9D9B-2AD9ED49787B}" dt="2023-11-17T14:16:23.144" v="2231" actId="948"/>
          <ac:spMkLst>
            <pc:docMk/>
            <pc:sldMk cId="456252200" sldId="2414"/>
            <ac:spMk id="2" creationId="{00000000-0000-0000-0000-000000000000}"/>
          </ac:spMkLst>
        </pc:spChg>
        <pc:spChg chg="del mod modVis">
          <ac:chgData name="van Leeuwen  Sara (VPPL)" userId="7a5f1df4-0dd0-4c9e-a72f-a035cf318af6" providerId="ADAL" clId="{7439252B-60B4-40D9-9D9B-2AD9ED49787B}" dt="2023-11-17T14:16:23.517" v="2612" actId="478"/>
          <ac:spMkLst>
            <pc:docMk/>
            <pc:sldMk cId="456252200" sldId="2414"/>
            <ac:spMk id="3" creationId="{BB150779-EEC1-328D-7332-710674D08E35}"/>
          </ac:spMkLst>
        </pc:spChg>
        <pc:spChg chg="mod">
          <ac:chgData name="van Leeuwen  Sara (VPPL)" userId="7a5f1df4-0dd0-4c9e-a72f-a035cf318af6" providerId="ADAL" clId="{7439252B-60B4-40D9-9D9B-2AD9ED49787B}" dt="2023-11-17T14:16:21.415" v="865" actId="947"/>
          <ac:spMkLst>
            <pc:docMk/>
            <pc:sldMk cId="456252200" sldId="2414"/>
            <ac:spMk id="4" creationId="{00000000-0000-0000-0000-000000000000}"/>
          </ac:spMkLst>
        </pc:spChg>
        <pc:spChg chg="mod">
          <ac:chgData name="van Leeuwen  Sara (VPPL)" userId="7a5f1df4-0dd0-4c9e-a72f-a035cf318af6" providerId="ADAL" clId="{7439252B-60B4-40D9-9D9B-2AD9ED49787B}" dt="2023-11-17T14:16:21.415" v="869" actId="947"/>
          <ac:spMkLst>
            <pc:docMk/>
            <pc:sldMk cId="456252200" sldId="2414"/>
            <ac:spMk id="6" creationId="{00000000-0000-0000-0000-000000000000}"/>
          </ac:spMkLst>
        </pc:spChg>
        <pc:spChg chg="mod">
          <ac:chgData name="van Leeuwen  Sara (VPPL)" userId="7a5f1df4-0dd0-4c9e-a72f-a035cf318af6" providerId="ADAL" clId="{7439252B-60B4-40D9-9D9B-2AD9ED49787B}" dt="2023-11-17T14:16:21.415" v="867" actId="947"/>
          <ac:spMkLst>
            <pc:docMk/>
            <pc:sldMk cId="456252200" sldId="2414"/>
            <ac:spMk id="8" creationId="{D75AFB06-C0D5-C44A-AFA0-9276A7192873}"/>
          </ac:spMkLst>
        </pc:spChg>
        <pc:spChg chg="mod">
          <ac:chgData name="van Leeuwen  Sara (VPPL)" userId="7a5f1df4-0dd0-4c9e-a72f-a035cf318af6" providerId="ADAL" clId="{7439252B-60B4-40D9-9D9B-2AD9ED49787B}" dt="2023-11-17T14:16:21.415" v="863" actId="947"/>
          <ac:spMkLst>
            <pc:docMk/>
            <pc:sldMk cId="456252200" sldId="2414"/>
            <ac:spMk id="9" creationId="{B6B24EFB-329E-4BDB-8682-2837E8093CA9}"/>
          </ac:spMkLst>
        </pc:spChg>
        <pc:spChg chg="mod">
          <ac:chgData name="van Leeuwen  Sara (VPPL)" userId="7a5f1df4-0dd0-4c9e-a72f-a035cf318af6" providerId="ADAL" clId="{7439252B-60B4-40D9-9D9B-2AD9ED49787B}" dt="2023-11-17T14:16:21.446" v="911" actId="947"/>
          <ac:spMkLst>
            <pc:docMk/>
            <pc:sldMk cId="456252200" sldId="2414"/>
            <ac:spMk id="11" creationId="{C3F031D6-7BD2-412A-AA1B-F883BFF23D67}"/>
          </ac:spMkLst>
        </pc:spChg>
        <pc:graphicFrameChg chg="mod">
          <ac:chgData name="van Leeuwen  Sara (VPPL)" userId="7a5f1df4-0dd0-4c9e-a72f-a035cf318af6" providerId="ADAL" clId="{7439252B-60B4-40D9-9D9B-2AD9ED49787B}" dt="2023-11-17T14:16:23.521" v="2613" actId="1076"/>
          <ac:graphicFrameMkLst>
            <pc:docMk/>
            <pc:sldMk cId="456252200" sldId="2414"/>
            <ac:graphicFrameMk id="5" creationId="{352B7F9C-4708-5E59-B06E-6196636E28CD}"/>
          </ac:graphicFrameMkLst>
        </pc:graphicFrameChg>
        <pc:graphicFrameChg chg="modGraphic">
          <ac:chgData name="van Leeuwen  Sara (VPPL)" userId="7a5f1df4-0dd0-4c9e-a72f-a035cf318af6" providerId="ADAL" clId="{7439252B-60B4-40D9-9D9B-2AD9ED49787B}" dt="2023-11-17T14:16:21.462" v="943" actId="947"/>
          <ac:graphicFrameMkLst>
            <pc:docMk/>
            <pc:sldMk cId="456252200" sldId="2414"/>
            <ac:graphicFrameMk id="7" creationId="{E28215B8-1D8F-71F5-5163-55814B542277}"/>
          </ac:graphicFrameMkLst>
        </pc:graphicFrameChg>
        <pc:graphicFrameChg chg="modGraphic">
          <ac:chgData name="van Leeuwen  Sara (VPPL)" userId="7a5f1df4-0dd0-4c9e-a72f-a035cf318af6" providerId="ADAL" clId="{7439252B-60B4-40D9-9D9B-2AD9ED49787B}" dt="2023-11-17T14:16:21.446" v="909" actId="947"/>
          <ac:graphicFrameMkLst>
            <pc:docMk/>
            <pc:sldMk cId="456252200" sldId="2414"/>
            <ac:graphicFrameMk id="10" creationId="{9B7E8B9D-5F9A-4F11-B14F-FECAB6CF2579}"/>
          </ac:graphicFrameMkLst>
        </pc:graphicFrameChg>
      </pc:sldChg>
      <pc:sldChg chg="delSp modSp del mod modNotes">
        <pc:chgData name="van Leeuwen  Sara (VPPL)" userId="7a5f1df4-0dd0-4c9e-a72f-a035cf318af6" providerId="ADAL" clId="{7439252B-60B4-40D9-9D9B-2AD9ED49787B}" dt="2023-11-21T13:29:55.553" v="3449" actId="47"/>
        <pc:sldMkLst>
          <pc:docMk/>
          <pc:sldMk cId="1201837209" sldId="2415"/>
        </pc:sldMkLst>
        <pc:spChg chg="mod">
          <ac:chgData name="van Leeuwen  Sara (VPPL)" userId="7a5f1df4-0dd0-4c9e-a72f-a035cf318af6" providerId="ADAL" clId="{7439252B-60B4-40D9-9D9B-2AD9ED49787B}" dt="2023-11-17T14:16:23.217" v="2303" actId="948"/>
          <ac:spMkLst>
            <pc:docMk/>
            <pc:sldMk cId="1201837209" sldId="2415"/>
            <ac:spMk id="2" creationId="{00000000-0000-0000-0000-000000000000}"/>
          </ac:spMkLst>
        </pc:spChg>
        <pc:spChg chg="del mod modVis">
          <ac:chgData name="van Leeuwen  Sara (VPPL)" userId="7a5f1df4-0dd0-4c9e-a72f-a035cf318af6" providerId="ADAL" clId="{7439252B-60B4-40D9-9D9B-2AD9ED49787B}" dt="2023-11-17T14:16:23.521" v="2620" actId="478"/>
          <ac:spMkLst>
            <pc:docMk/>
            <pc:sldMk cId="1201837209" sldId="2415"/>
            <ac:spMk id="3" creationId="{4437D69F-6B57-288F-9225-746B295239A1}"/>
          </ac:spMkLst>
        </pc:spChg>
        <pc:spChg chg="mod">
          <ac:chgData name="van Leeuwen  Sara (VPPL)" userId="7a5f1df4-0dd0-4c9e-a72f-a035cf318af6" providerId="ADAL" clId="{7439252B-60B4-40D9-9D9B-2AD9ED49787B}" dt="2023-11-17T14:16:21.540" v="991" actId="947"/>
          <ac:spMkLst>
            <pc:docMk/>
            <pc:sldMk cId="1201837209" sldId="2415"/>
            <ac:spMk id="4" creationId="{00000000-0000-0000-0000-000000000000}"/>
          </ac:spMkLst>
        </pc:spChg>
        <pc:spChg chg="mod">
          <ac:chgData name="van Leeuwen  Sara (VPPL)" userId="7a5f1df4-0dd0-4c9e-a72f-a035cf318af6" providerId="ADAL" clId="{7439252B-60B4-40D9-9D9B-2AD9ED49787B}" dt="2023-11-17T14:16:21.556" v="995" actId="947"/>
          <ac:spMkLst>
            <pc:docMk/>
            <pc:sldMk cId="1201837209" sldId="2415"/>
            <ac:spMk id="6" creationId="{00000000-0000-0000-0000-000000000000}"/>
          </ac:spMkLst>
        </pc:spChg>
        <pc:spChg chg="mod">
          <ac:chgData name="van Leeuwen  Sara (VPPL)" userId="7a5f1df4-0dd0-4c9e-a72f-a035cf318af6" providerId="ADAL" clId="{7439252B-60B4-40D9-9D9B-2AD9ED49787B}" dt="2023-11-17T14:16:21.540" v="993" actId="947"/>
          <ac:spMkLst>
            <pc:docMk/>
            <pc:sldMk cId="1201837209" sldId="2415"/>
            <ac:spMk id="8" creationId="{D75AFB06-C0D5-C44A-AFA0-9276A7192873}"/>
          </ac:spMkLst>
        </pc:spChg>
        <pc:spChg chg="mod">
          <ac:chgData name="van Leeuwen  Sara (VPPL)" userId="7a5f1df4-0dd0-4c9e-a72f-a035cf318af6" providerId="ADAL" clId="{7439252B-60B4-40D9-9D9B-2AD9ED49787B}" dt="2023-11-17T14:16:21.540" v="989" actId="947"/>
          <ac:spMkLst>
            <pc:docMk/>
            <pc:sldMk cId="1201837209" sldId="2415"/>
            <ac:spMk id="9" creationId="{B6B24EFB-329E-4BDB-8682-2837E8093CA9}"/>
          </ac:spMkLst>
        </pc:spChg>
        <pc:spChg chg="mod">
          <ac:chgData name="van Leeuwen  Sara (VPPL)" userId="7a5f1df4-0dd0-4c9e-a72f-a035cf318af6" providerId="ADAL" clId="{7439252B-60B4-40D9-9D9B-2AD9ED49787B}" dt="2023-11-17T14:16:21.572" v="1037" actId="947"/>
          <ac:spMkLst>
            <pc:docMk/>
            <pc:sldMk cId="1201837209" sldId="2415"/>
            <ac:spMk id="11" creationId="{92267456-644C-4ABD-8DF8-DD133671384B}"/>
          </ac:spMkLst>
        </pc:spChg>
        <pc:graphicFrameChg chg="mod">
          <ac:chgData name="van Leeuwen  Sara (VPPL)" userId="7a5f1df4-0dd0-4c9e-a72f-a035cf318af6" providerId="ADAL" clId="{7439252B-60B4-40D9-9D9B-2AD9ED49787B}" dt="2023-11-17T14:16:23.521" v="2621" actId="1076"/>
          <ac:graphicFrameMkLst>
            <pc:docMk/>
            <pc:sldMk cId="1201837209" sldId="2415"/>
            <ac:graphicFrameMk id="5" creationId="{4157157A-A2E8-B94D-C3CB-8D20769C6F21}"/>
          </ac:graphicFrameMkLst>
        </pc:graphicFrameChg>
        <pc:graphicFrameChg chg="modGraphic">
          <ac:chgData name="van Leeuwen  Sara (VPPL)" userId="7a5f1df4-0dd0-4c9e-a72f-a035cf318af6" providerId="ADAL" clId="{7439252B-60B4-40D9-9D9B-2AD9ED49787B}" dt="2023-11-17T14:16:21.587" v="1069" actId="947"/>
          <ac:graphicFrameMkLst>
            <pc:docMk/>
            <pc:sldMk cId="1201837209" sldId="2415"/>
            <ac:graphicFrameMk id="7" creationId="{CB071684-A6F4-AD2D-614B-7C0DA5000E7A}"/>
          </ac:graphicFrameMkLst>
        </pc:graphicFrameChg>
        <pc:graphicFrameChg chg="modGraphic">
          <ac:chgData name="van Leeuwen  Sara (VPPL)" userId="7a5f1df4-0dd0-4c9e-a72f-a035cf318af6" providerId="ADAL" clId="{7439252B-60B4-40D9-9D9B-2AD9ED49787B}" dt="2023-11-17T14:16:21.572" v="1035" actId="947"/>
          <ac:graphicFrameMkLst>
            <pc:docMk/>
            <pc:sldMk cId="1201837209" sldId="2415"/>
            <ac:graphicFrameMk id="10" creationId="{9B7E8B9D-5F9A-4F11-B14F-FECAB6CF2579}"/>
          </ac:graphicFrameMkLst>
        </pc:graphicFrameChg>
      </pc:sldChg>
      <pc:sldChg chg="delSp modSp mod modNotes">
        <pc:chgData name="van Leeuwen  Sara (VPPL)" userId="7a5f1df4-0dd0-4c9e-a72f-a035cf318af6" providerId="ADAL" clId="{7439252B-60B4-40D9-9D9B-2AD9ED49787B}" dt="2023-11-21T14:31:07.057" v="4034" actId="113"/>
        <pc:sldMkLst>
          <pc:docMk/>
          <pc:sldMk cId="1257036896" sldId="2421"/>
        </pc:sldMkLst>
        <pc:spChg chg="del mod modVis">
          <ac:chgData name="van Leeuwen  Sara (VPPL)" userId="7a5f1df4-0dd0-4c9e-a72f-a035cf318af6" providerId="ADAL" clId="{7439252B-60B4-40D9-9D9B-2AD9ED49787B}" dt="2023-11-17T14:16:23.521" v="2622" actId="478"/>
          <ac:spMkLst>
            <pc:docMk/>
            <pc:sldMk cId="1257036896" sldId="2421"/>
            <ac:spMk id="2" creationId="{5CB82F5F-2C6B-6DD5-00B5-73219DFC169B}"/>
          </ac:spMkLst>
        </pc:spChg>
        <pc:spChg chg="mod">
          <ac:chgData name="van Leeuwen  Sara (VPPL)" userId="7a5f1df4-0dd0-4c9e-a72f-a035cf318af6" providerId="ADAL" clId="{7439252B-60B4-40D9-9D9B-2AD9ED49787B}" dt="2023-11-17T14:16:21.603" v="1075" actId="947"/>
          <ac:spMkLst>
            <pc:docMk/>
            <pc:sldMk cId="1257036896" sldId="2421"/>
            <ac:spMk id="4" creationId="{FA5818C9-C9D1-48A7-9FE3-27F36290F121}"/>
          </ac:spMkLst>
        </pc:spChg>
        <pc:spChg chg="mod">
          <ac:chgData name="van Leeuwen  Sara (VPPL)" userId="7a5f1df4-0dd0-4c9e-a72f-a035cf318af6" providerId="ADAL" clId="{7439252B-60B4-40D9-9D9B-2AD9ED49787B}" dt="2023-11-17T14:16:21.603" v="1077" actId="947"/>
          <ac:spMkLst>
            <pc:docMk/>
            <pc:sldMk cId="1257036896" sldId="2421"/>
            <ac:spMk id="5" creationId="{B4E16BDA-60AE-4049-B980-EBCC04B91BB3}"/>
          </ac:spMkLst>
        </pc:spChg>
        <pc:spChg chg="mod">
          <ac:chgData name="van Leeuwen  Sara (VPPL)" userId="7a5f1df4-0dd0-4c9e-a72f-a035cf318af6" providerId="ADAL" clId="{7439252B-60B4-40D9-9D9B-2AD9ED49787B}" dt="2023-11-17T14:16:21.603" v="1079" actId="947"/>
          <ac:spMkLst>
            <pc:docMk/>
            <pc:sldMk cId="1257036896" sldId="2421"/>
            <ac:spMk id="6" creationId="{CCDE28A4-0308-43D9-927A-710ACA164CBA}"/>
          </ac:spMkLst>
        </pc:spChg>
        <pc:spChg chg="mod">
          <ac:chgData name="van Leeuwen  Sara (VPPL)" userId="7a5f1df4-0dd0-4c9e-a72f-a035cf318af6" providerId="ADAL" clId="{7439252B-60B4-40D9-9D9B-2AD9ED49787B}" dt="2023-11-21T14:28:28.894" v="3942" actId="948"/>
          <ac:spMkLst>
            <pc:docMk/>
            <pc:sldMk cId="1257036896" sldId="2421"/>
            <ac:spMk id="8" creationId="{7615A340-A42F-4355-AF9F-1FA9C8C871B5}"/>
          </ac:spMkLst>
        </pc:spChg>
        <pc:spChg chg="mod">
          <ac:chgData name="van Leeuwen  Sara (VPPL)" userId="7a5f1df4-0dd0-4c9e-a72f-a035cf318af6" providerId="ADAL" clId="{7439252B-60B4-40D9-9D9B-2AD9ED49787B}" dt="2023-11-21T14:31:07.057" v="4034" actId="113"/>
          <ac:spMkLst>
            <pc:docMk/>
            <pc:sldMk cId="1257036896" sldId="2421"/>
            <ac:spMk id="9" creationId="{9209AE63-3AA5-4052-B998-05A99361B659}"/>
          </ac:spMkLst>
        </pc:spChg>
        <pc:spChg chg="mod">
          <ac:chgData name="van Leeuwen  Sara (VPPL)" userId="7a5f1df4-0dd0-4c9e-a72f-a035cf318af6" providerId="ADAL" clId="{7439252B-60B4-40D9-9D9B-2AD9ED49787B}" dt="2023-11-17T14:16:21.603" v="1081" actId="947"/>
          <ac:spMkLst>
            <pc:docMk/>
            <pc:sldMk cId="1257036896" sldId="2421"/>
            <ac:spMk id="10" creationId="{EDBD1B4F-7081-4E51-8198-482E2FAE9322}"/>
          </ac:spMkLst>
        </pc:spChg>
        <pc:graphicFrameChg chg="mod">
          <ac:chgData name="van Leeuwen  Sara (VPPL)" userId="7a5f1df4-0dd0-4c9e-a72f-a035cf318af6" providerId="ADAL" clId="{7439252B-60B4-40D9-9D9B-2AD9ED49787B}" dt="2023-11-21T14:28:28.894" v="3946"/>
          <ac:graphicFrameMkLst>
            <pc:docMk/>
            <pc:sldMk cId="1257036896" sldId="2421"/>
            <ac:graphicFrameMk id="3" creationId="{5755A7B0-3099-8ED9-DD67-7FDA65BEA332}"/>
          </ac:graphicFrameMkLst>
        </pc:graphicFrameChg>
      </pc:sldChg>
      <pc:sldChg chg="modSp mod modNotes">
        <pc:chgData name="van Leeuwen  Sara (VPPL)" userId="7a5f1df4-0dd0-4c9e-a72f-a035cf318af6" providerId="ADAL" clId="{7439252B-60B4-40D9-9D9B-2AD9ED49787B}" dt="2023-11-17T14:16:23.536" v="2635" actId="1076"/>
        <pc:sldMkLst>
          <pc:docMk/>
          <pc:sldMk cId="2330390072" sldId="2422"/>
        </pc:sldMkLst>
        <pc:spChg chg="mod">
          <ac:chgData name="van Leeuwen  Sara (VPPL)" userId="7a5f1df4-0dd0-4c9e-a72f-a035cf318af6" providerId="ADAL" clId="{7439252B-60B4-40D9-9D9B-2AD9ED49787B}" dt="2023-11-17T14:16:23.317" v="2429" actId="948"/>
          <ac:spMkLst>
            <pc:docMk/>
            <pc:sldMk cId="2330390072" sldId="2422"/>
            <ac:spMk id="2" creationId="{16DDB4A8-8E54-4562-8121-37460FF81563}"/>
          </ac:spMkLst>
        </pc:spChg>
        <pc:spChg chg="mod">
          <ac:chgData name="van Leeuwen  Sara (VPPL)" userId="7a5f1df4-0dd0-4c9e-a72f-a035cf318af6" providerId="ADAL" clId="{7439252B-60B4-40D9-9D9B-2AD9ED49787B}" dt="2023-11-17T14:16:21.760" v="1197" actId="947"/>
          <ac:spMkLst>
            <pc:docMk/>
            <pc:sldMk cId="2330390072" sldId="2422"/>
            <ac:spMk id="4" creationId="{FBA991CE-06F3-4A2A-8685-B91781527155}"/>
          </ac:spMkLst>
        </pc:spChg>
        <pc:spChg chg="mod">
          <ac:chgData name="van Leeuwen  Sara (VPPL)" userId="7a5f1df4-0dd0-4c9e-a72f-a035cf318af6" providerId="ADAL" clId="{7439252B-60B4-40D9-9D9B-2AD9ED49787B}" dt="2023-11-17T14:16:21.760" v="1203" actId="947"/>
          <ac:spMkLst>
            <pc:docMk/>
            <pc:sldMk cId="2330390072" sldId="2422"/>
            <ac:spMk id="5" creationId="{C7C6DBEA-F9A0-0BC9-25A5-9839A8F2523A}"/>
          </ac:spMkLst>
        </pc:spChg>
        <pc:spChg chg="mod">
          <ac:chgData name="van Leeuwen  Sara (VPPL)" userId="7a5f1df4-0dd0-4c9e-a72f-a035cf318af6" providerId="ADAL" clId="{7439252B-60B4-40D9-9D9B-2AD9ED49787B}" dt="2023-11-17T14:16:21.760" v="1199" actId="947"/>
          <ac:spMkLst>
            <pc:docMk/>
            <pc:sldMk cId="2330390072" sldId="2422"/>
            <ac:spMk id="6" creationId="{248C7CDF-0D2B-474C-A3C5-68C2D15B5AD7}"/>
          </ac:spMkLst>
        </pc:spChg>
        <pc:spChg chg="mod">
          <ac:chgData name="van Leeuwen  Sara (VPPL)" userId="7a5f1df4-0dd0-4c9e-a72f-a035cf318af6" providerId="ADAL" clId="{7439252B-60B4-40D9-9D9B-2AD9ED49787B}" dt="2023-11-17T14:16:21.760" v="1201" actId="947"/>
          <ac:spMkLst>
            <pc:docMk/>
            <pc:sldMk cId="2330390072" sldId="2422"/>
            <ac:spMk id="7" creationId="{56FF9BC1-A8A7-4A3F-A30B-3C00629A68E8}"/>
          </ac:spMkLst>
        </pc:spChg>
        <pc:graphicFrameChg chg="mod">
          <ac:chgData name="van Leeuwen  Sara (VPPL)" userId="7a5f1df4-0dd0-4c9e-a72f-a035cf318af6" providerId="ADAL" clId="{7439252B-60B4-40D9-9D9B-2AD9ED49787B}" dt="2023-11-17T14:16:23.536" v="2635" actId="1076"/>
          <ac:graphicFrameMkLst>
            <pc:docMk/>
            <pc:sldMk cId="2330390072" sldId="2422"/>
            <ac:graphicFrameMk id="3" creationId="{43CDCEE2-AAC6-003F-0A1F-30A6BCABF5A5}"/>
          </ac:graphicFrameMkLst>
        </pc:graphicFrameChg>
        <pc:picChg chg="mod modCrop">
          <ac:chgData name="van Leeuwen  Sara (VPPL)" userId="7a5f1df4-0dd0-4c9e-a72f-a035cf318af6" providerId="ADAL" clId="{7439252B-60B4-40D9-9D9B-2AD9ED49787B}" dt="2023-11-17T13:30:23.476" v="65" actId="732"/>
          <ac:picMkLst>
            <pc:docMk/>
            <pc:sldMk cId="2330390072" sldId="2422"/>
            <ac:picMk id="8" creationId="{37EC6C76-028C-49DD-AE90-D9B65D73DBF5}"/>
          </ac:picMkLst>
        </pc:picChg>
      </pc:sldChg>
      <pc:sldChg chg="addSp delSp modSp mod modNotes">
        <pc:chgData name="van Leeuwen  Sara (VPPL)" userId="7a5f1df4-0dd0-4c9e-a72f-a035cf318af6" providerId="ADAL" clId="{7439252B-60B4-40D9-9D9B-2AD9ED49787B}" dt="2023-11-22T13:30:31.762" v="4651"/>
        <pc:sldMkLst>
          <pc:docMk/>
          <pc:sldMk cId="3512549865" sldId="2427"/>
        </pc:sldMkLst>
        <pc:spChg chg="mod">
          <ac:chgData name="van Leeuwen  Sara (VPPL)" userId="7a5f1df4-0dd0-4c9e-a72f-a035cf318af6" providerId="ADAL" clId="{7439252B-60B4-40D9-9D9B-2AD9ED49787B}" dt="2023-11-21T14:07:44.700" v="3760" actId="948"/>
          <ac:spMkLst>
            <pc:docMk/>
            <pc:sldMk cId="3512549865" sldId="2427"/>
            <ac:spMk id="2" creationId="{00000000-0000-0000-0000-000000000000}"/>
          </ac:spMkLst>
        </pc:spChg>
        <pc:spChg chg="add del mod modVis">
          <ac:chgData name="van Leeuwen  Sara (VPPL)" userId="7a5f1df4-0dd0-4c9e-a72f-a035cf318af6" providerId="ADAL" clId="{7439252B-60B4-40D9-9D9B-2AD9ED49787B}" dt="2023-11-21T14:05:55.113" v="3489"/>
          <ac:spMkLst>
            <pc:docMk/>
            <pc:sldMk cId="3512549865" sldId="2427"/>
            <ac:spMk id="3" creationId="{0C6FCAC7-163B-7A84-38BF-7DC813D69158}"/>
          </ac:spMkLst>
        </pc:spChg>
        <pc:spChg chg="del mod modVis">
          <ac:chgData name="van Leeuwen  Sara (VPPL)" userId="7a5f1df4-0dd0-4c9e-a72f-a035cf318af6" providerId="ADAL" clId="{7439252B-60B4-40D9-9D9B-2AD9ED49787B}" dt="2023-11-17T14:16:23.489" v="2593" actId="478"/>
          <ac:spMkLst>
            <pc:docMk/>
            <pc:sldMk cId="3512549865" sldId="2427"/>
            <ac:spMk id="3" creationId="{BB5D816D-DC96-4A30-679A-9173396E17F4}"/>
          </ac:spMkLst>
        </pc:spChg>
        <pc:spChg chg="mod">
          <ac:chgData name="van Leeuwen  Sara (VPPL)" userId="7a5f1df4-0dd0-4c9e-a72f-a035cf318af6" providerId="ADAL" clId="{7439252B-60B4-40D9-9D9B-2AD9ED49787B}" dt="2023-11-17T14:16:21.132" v="579" actId="947"/>
          <ac:spMkLst>
            <pc:docMk/>
            <pc:sldMk cId="3512549865" sldId="2427"/>
            <ac:spMk id="4" creationId="{00000000-0000-0000-0000-000000000000}"/>
          </ac:spMkLst>
        </pc:spChg>
        <pc:spChg chg="mod">
          <ac:chgData name="van Leeuwen  Sara (VPPL)" userId="7a5f1df4-0dd0-4c9e-a72f-a035cf318af6" providerId="ADAL" clId="{7439252B-60B4-40D9-9D9B-2AD9ED49787B}" dt="2023-11-17T14:16:21.132" v="583" actId="947"/>
          <ac:spMkLst>
            <pc:docMk/>
            <pc:sldMk cId="3512549865" sldId="2427"/>
            <ac:spMk id="6" creationId="{00000000-0000-0000-0000-000000000000}"/>
          </ac:spMkLst>
        </pc:spChg>
        <pc:spChg chg="add del mod modVis">
          <ac:chgData name="van Leeuwen  Sara (VPPL)" userId="7a5f1df4-0dd0-4c9e-a72f-a035cf318af6" providerId="ADAL" clId="{7439252B-60B4-40D9-9D9B-2AD9ED49787B}" dt="2023-11-21T14:05:55.946" v="3522"/>
          <ac:spMkLst>
            <pc:docMk/>
            <pc:sldMk cId="3512549865" sldId="2427"/>
            <ac:spMk id="7" creationId="{EDE52287-6D5C-E652-D942-18E726E0D5E2}"/>
          </ac:spMkLst>
        </pc:spChg>
        <pc:spChg chg="mod">
          <ac:chgData name="van Leeuwen  Sara (VPPL)" userId="7a5f1df4-0dd0-4c9e-a72f-a035cf318af6" providerId="ADAL" clId="{7439252B-60B4-40D9-9D9B-2AD9ED49787B}" dt="2023-11-17T14:16:21.132" v="581" actId="947"/>
          <ac:spMkLst>
            <pc:docMk/>
            <pc:sldMk cId="3512549865" sldId="2427"/>
            <ac:spMk id="8" creationId="{D75AFB06-C0D5-C44A-AFA0-9276A7192873}"/>
          </ac:spMkLst>
        </pc:spChg>
        <pc:spChg chg="add del mod modVis">
          <ac:chgData name="van Leeuwen  Sara (VPPL)" userId="7a5f1df4-0dd0-4c9e-a72f-a035cf318af6" providerId="ADAL" clId="{7439252B-60B4-40D9-9D9B-2AD9ED49787B}" dt="2023-11-21T14:07:11.986" v="3687"/>
          <ac:spMkLst>
            <pc:docMk/>
            <pc:sldMk cId="3512549865" sldId="2427"/>
            <ac:spMk id="9" creationId="{1FFC7699-ABD4-899F-F9D1-193DDDA71DDE}"/>
          </ac:spMkLst>
        </pc:spChg>
        <pc:spChg chg="mod">
          <ac:chgData name="van Leeuwen  Sara (VPPL)" userId="7a5f1df4-0dd0-4c9e-a72f-a035cf318af6" providerId="ADAL" clId="{7439252B-60B4-40D9-9D9B-2AD9ED49787B}" dt="2023-11-17T14:16:21.148" v="585" actId="947"/>
          <ac:spMkLst>
            <pc:docMk/>
            <pc:sldMk cId="3512549865" sldId="2427"/>
            <ac:spMk id="11" creationId="{D546C90B-D125-48EE-A1FF-3334FE6CA27A}"/>
          </ac:spMkLst>
        </pc:spChg>
        <pc:spChg chg="add del mod modVis">
          <ac:chgData name="van Leeuwen  Sara (VPPL)" userId="7a5f1df4-0dd0-4c9e-a72f-a035cf318af6" providerId="ADAL" clId="{7439252B-60B4-40D9-9D9B-2AD9ED49787B}" dt="2023-11-21T14:07:12.506" v="3720"/>
          <ac:spMkLst>
            <pc:docMk/>
            <pc:sldMk cId="3512549865" sldId="2427"/>
            <ac:spMk id="12" creationId="{F89E0994-5EC8-155F-4078-3507A65EB084}"/>
          </ac:spMkLst>
        </pc:spChg>
        <pc:spChg chg="add del mod modVis">
          <ac:chgData name="van Leeuwen  Sara (VPPL)" userId="7a5f1df4-0dd0-4c9e-a72f-a035cf318af6" providerId="ADAL" clId="{7439252B-60B4-40D9-9D9B-2AD9ED49787B}" dt="2023-11-21T14:07:41.786" v="3753"/>
          <ac:spMkLst>
            <pc:docMk/>
            <pc:sldMk cId="3512549865" sldId="2427"/>
            <ac:spMk id="13" creationId="{7DC73BCA-486A-B1C8-5E6B-200AB9000436}"/>
          </ac:spMkLst>
        </pc:spChg>
        <pc:spChg chg="add del mod modVis">
          <ac:chgData name="van Leeuwen  Sara (VPPL)" userId="7a5f1df4-0dd0-4c9e-a72f-a035cf318af6" providerId="ADAL" clId="{7439252B-60B4-40D9-9D9B-2AD9ED49787B}" dt="2023-11-21T14:07:44.716" v="3789"/>
          <ac:spMkLst>
            <pc:docMk/>
            <pc:sldMk cId="3512549865" sldId="2427"/>
            <ac:spMk id="14" creationId="{A49AE70D-779E-43E1-6DE0-2126F7CD9CFA}"/>
          </ac:spMkLst>
        </pc:spChg>
        <pc:graphicFrameChg chg="mod">
          <ac:chgData name="van Leeuwen  Sara (VPPL)" userId="7a5f1df4-0dd0-4c9e-a72f-a035cf318af6" providerId="ADAL" clId="{7439252B-60B4-40D9-9D9B-2AD9ED49787B}" dt="2023-11-21T14:07:44.731" v="3791"/>
          <ac:graphicFrameMkLst>
            <pc:docMk/>
            <pc:sldMk cId="3512549865" sldId="2427"/>
            <ac:graphicFrameMk id="5" creationId="{36BFE735-7DEC-F7BC-933D-DAC2EC342B0C}"/>
          </ac:graphicFrameMkLst>
        </pc:graphicFrameChg>
        <pc:graphicFrameChg chg="mod modGraphic">
          <ac:chgData name="van Leeuwen  Sara (VPPL)" userId="7a5f1df4-0dd0-4c9e-a72f-a035cf318af6" providerId="ADAL" clId="{7439252B-60B4-40D9-9D9B-2AD9ED49787B}" dt="2023-11-22T13:30:31.762" v="4651"/>
          <ac:graphicFrameMkLst>
            <pc:docMk/>
            <pc:sldMk cId="3512549865" sldId="2427"/>
            <ac:graphicFrameMk id="10" creationId="{9B7E8B9D-5F9A-4F11-B14F-FECAB6CF2579}"/>
          </ac:graphicFrameMkLst>
        </pc:graphicFrameChg>
      </pc:sldChg>
      <pc:sldChg chg="modSp mod modNotes">
        <pc:chgData name="van Leeuwen  Sara (VPPL)" userId="7a5f1df4-0dd0-4c9e-a72f-a035cf318af6" providerId="ADAL" clId="{7439252B-60B4-40D9-9D9B-2AD9ED49787B}" dt="2023-11-17T14:16:23.505" v="2599" actId="1076"/>
        <pc:sldMkLst>
          <pc:docMk/>
          <pc:sldMk cId="689743388" sldId="2428"/>
        </pc:sldMkLst>
        <pc:spChg chg="mod">
          <ac:chgData name="van Leeuwen  Sara (VPPL)" userId="7a5f1df4-0dd0-4c9e-a72f-a035cf318af6" providerId="ADAL" clId="{7439252B-60B4-40D9-9D9B-2AD9ED49787B}" dt="2023-11-17T14:16:21.214" v="659" actId="947"/>
          <ac:spMkLst>
            <pc:docMk/>
            <pc:sldMk cId="689743388" sldId="2428"/>
            <ac:spMk id="4" creationId="{1C64F35D-60B1-47E8-8AA1-15FBD62E6694}"/>
          </ac:spMkLst>
        </pc:spChg>
        <pc:spChg chg="mod">
          <ac:chgData name="van Leeuwen  Sara (VPPL)" userId="7a5f1df4-0dd0-4c9e-a72f-a035cf318af6" providerId="ADAL" clId="{7439252B-60B4-40D9-9D9B-2AD9ED49787B}" dt="2023-11-17T14:16:21.214" v="661" actId="947"/>
          <ac:spMkLst>
            <pc:docMk/>
            <pc:sldMk cId="689743388" sldId="2428"/>
            <ac:spMk id="5" creationId="{FFE3D09D-A5EF-4DB0-8BAE-BBD2BA7E76E2}"/>
          </ac:spMkLst>
        </pc:spChg>
        <pc:spChg chg="mod">
          <ac:chgData name="van Leeuwen  Sara (VPPL)" userId="7a5f1df4-0dd0-4c9e-a72f-a035cf318af6" providerId="ADAL" clId="{7439252B-60B4-40D9-9D9B-2AD9ED49787B}" dt="2023-11-17T14:16:21.214" v="663" actId="947"/>
          <ac:spMkLst>
            <pc:docMk/>
            <pc:sldMk cId="689743388" sldId="2428"/>
            <ac:spMk id="6" creationId="{CFEE8961-1778-43E5-8D01-676802966A39}"/>
          </ac:spMkLst>
        </pc:spChg>
        <pc:spChg chg="mod">
          <ac:chgData name="van Leeuwen  Sara (VPPL)" userId="7a5f1df4-0dd0-4c9e-a72f-a035cf318af6" providerId="ADAL" clId="{7439252B-60B4-40D9-9D9B-2AD9ED49787B}" dt="2023-11-17T14:16:21.214" v="657" actId="947"/>
          <ac:spMkLst>
            <pc:docMk/>
            <pc:sldMk cId="689743388" sldId="2428"/>
            <ac:spMk id="8" creationId="{AC1FB292-90C1-439C-8480-EB4116CF2374}"/>
          </ac:spMkLst>
        </pc:spChg>
        <pc:graphicFrameChg chg="mod">
          <ac:chgData name="van Leeuwen  Sara (VPPL)" userId="7a5f1df4-0dd0-4c9e-a72f-a035cf318af6" providerId="ADAL" clId="{7439252B-60B4-40D9-9D9B-2AD9ED49787B}" dt="2023-11-17T14:16:23.505" v="2599" actId="1076"/>
          <ac:graphicFrameMkLst>
            <pc:docMk/>
            <pc:sldMk cId="689743388" sldId="2428"/>
            <ac:graphicFrameMk id="3" creationId="{D0BD25E6-FA1C-5484-3331-B91F0F7B9647}"/>
          </ac:graphicFrameMkLst>
        </pc:graphicFrameChg>
      </pc:sldChg>
      <pc:sldChg chg="addSp delSp modSp mod modNotes">
        <pc:chgData name="van Leeuwen  Sara (VPPL)" userId="7a5f1df4-0dd0-4c9e-a72f-a035cf318af6" providerId="ADAL" clId="{7439252B-60B4-40D9-9D9B-2AD9ED49787B}" dt="2023-11-22T13:23:45.530" v="4628"/>
        <pc:sldMkLst>
          <pc:docMk/>
          <pc:sldMk cId="1289117044" sldId="2431"/>
        </pc:sldMkLst>
        <pc:spChg chg="mod">
          <ac:chgData name="van Leeuwen  Sara (VPPL)" userId="7a5f1df4-0dd0-4c9e-a72f-a035cf318af6" providerId="ADAL" clId="{7439252B-60B4-40D9-9D9B-2AD9ED49787B}" dt="2023-11-17T15:04:53.394" v="2683" actId="948"/>
          <ac:spMkLst>
            <pc:docMk/>
            <pc:sldMk cId="1289117044" sldId="2431"/>
            <ac:spMk id="2" creationId="{08698104-62D2-44F7-8498-4D2F01E2AB5C}"/>
          </ac:spMkLst>
        </pc:spChg>
        <pc:spChg chg="mod">
          <ac:chgData name="van Leeuwen  Sara (VPPL)" userId="7a5f1df4-0dd0-4c9e-a72f-a035cf318af6" providerId="ADAL" clId="{7439252B-60B4-40D9-9D9B-2AD9ED49787B}" dt="2023-11-17T14:16:21.069" v="513" actId="947"/>
          <ac:spMkLst>
            <pc:docMk/>
            <pc:sldMk cId="1289117044" sldId="2431"/>
            <ac:spMk id="4" creationId="{2C7151FD-0B7E-40A5-B765-DCA9528BEB0E}"/>
          </ac:spMkLst>
        </pc:spChg>
        <pc:spChg chg="mod">
          <ac:chgData name="van Leeuwen  Sara (VPPL)" userId="7a5f1df4-0dd0-4c9e-a72f-a035cf318af6" providerId="ADAL" clId="{7439252B-60B4-40D9-9D9B-2AD9ED49787B}" dt="2023-11-17T14:16:21.069" v="515" actId="947"/>
          <ac:spMkLst>
            <pc:docMk/>
            <pc:sldMk cId="1289117044" sldId="2431"/>
            <ac:spMk id="5" creationId="{0E142C1F-9344-4A89-B6B0-A96D514A3583}"/>
          </ac:spMkLst>
        </pc:spChg>
        <pc:spChg chg="mod">
          <ac:chgData name="van Leeuwen  Sara (VPPL)" userId="7a5f1df4-0dd0-4c9e-a72f-a035cf318af6" providerId="ADAL" clId="{7439252B-60B4-40D9-9D9B-2AD9ED49787B}" dt="2023-11-17T14:16:21.069" v="517" actId="947"/>
          <ac:spMkLst>
            <pc:docMk/>
            <pc:sldMk cId="1289117044" sldId="2431"/>
            <ac:spMk id="6" creationId="{30493C4D-4FE7-4A4E-B4D3-67C813803591}"/>
          </ac:spMkLst>
        </pc:spChg>
        <pc:spChg chg="mod">
          <ac:chgData name="van Leeuwen  Sara (VPPL)" userId="7a5f1df4-0dd0-4c9e-a72f-a035cf318af6" providerId="ADAL" clId="{7439252B-60B4-40D9-9D9B-2AD9ED49787B}" dt="2023-11-17T14:16:21.069" v="519" actId="947"/>
          <ac:spMkLst>
            <pc:docMk/>
            <pc:sldMk cId="1289117044" sldId="2431"/>
            <ac:spMk id="7" creationId="{4A8138F0-8B88-45AF-BB6F-E3C27F039B53}"/>
          </ac:spMkLst>
        </pc:spChg>
        <pc:spChg chg="del mod modVis">
          <ac:chgData name="van Leeuwen  Sara (VPPL)" userId="7a5f1df4-0dd0-4c9e-a72f-a035cf318af6" providerId="ADAL" clId="{7439252B-60B4-40D9-9D9B-2AD9ED49787B}" dt="2023-11-17T14:16:23.489" v="2591" actId="478"/>
          <ac:spMkLst>
            <pc:docMk/>
            <pc:sldMk cId="1289117044" sldId="2431"/>
            <ac:spMk id="8" creationId="{CC62A924-F248-549B-3EC9-891F7CD90263}"/>
          </ac:spMkLst>
        </pc:spChg>
        <pc:spChg chg="mod">
          <ac:chgData name="van Leeuwen  Sara (VPPL)" userId="7a5f1df4-0dd0-4c9e-a72f-a035cf318af6" providerId="ADAL" clId="{7439252B-60B4-40D9-9D9B-2AD9ED49787B}" dt="2023-11-17T14:16:21.085" v="521" actId="947"/>
          <ac:spMkLst>
            <pc:docMk/>
            <pc:sldMk cId="1289117044" sldId="2431"/>
            <ac:spMk id="10" creationId="{89002B66-8B82-4F4C-826B-607F78B71E25}"/>
          </ac:spMkLst>
        </pc:spChg>
        <pc:spChg chg="add del mod modVis">
          <ac:chgData name="van Leeuwen  Sara (VPPL)" userId="7a5f1df4-0dd0-4c9e-a72f-a035cf318af6" providerId="ADAL" clId="{7439252B-60B4-40D9-9D9B-2AD9ED49787B}" dt="2023-11-17T15:04:53.409" v="2706"/>
          <ac:spMkLst>
            <pc:docMk/>
            <pc:sldMk cId="1289117044" sldId="2431"/>
            <ac:spMk id="11" creationId="{2C74C398-2806-611D-A63A-959DDAB1F55E}"/>
          </ac:spMkLst>
        </pc:spChg>
        <pc:spChg chg="mod">
          <ac:chgData name="van Leeuwen  Sara (VPPL)" userId="7a5f1df4-0dd0-4c9e-a72f-a035cf318af6" providerId="ADAL" clId="{7439252B-60B4-40D9-9D9B-2AD9ED49787B}" dt="2023-11-22T13:23:45.530" v="4628"/>
          <ac:spMkLst>
            <pc:docMk/>
            <pc:sldMk cId="1289117044" sldId="2431"/>
            <ac:spMk id="16" creationId="{610C0BC9-B539-4F72-A018-A02A8E404895}"/>
          </ac:spMkLst>
        </pc:spChg>
        <pc:spChg chg="mod">
          <ac:chgData name="van Leeuwen  Sara (VPPL)" userId="7a5f1df4-0dd0-4c9e-a72f-a035cf318af6" providerId="ADAL" clId="{7439252B-60B4-40D9-9D9B-2AD9ED49787B}" dt="2023-11-17T15:28:18.519" v="2722" actId="255"/>
          <ac:spMkLst>
            <pc:docMk/>
            <pc:sldMk cId="1289117044" sldId="2431"/>
            <ac:spMk id="21" creationId="{76BD90C2-8D4F-46E7-A04F-FF79D28D989A}"/>
          </ac:spMkLst>
        </pc:spChg>
        <pc:graphicFrameChg chg="mod">
          <ac:chgData name="van Leeuwen  Sara (VPPL)" userId="7a5f1df4-0dd0-4c9e-a72f-a035cf318af6" providerId="ADAL" clId="{7439252B-60B4-40D9-9D9B-2AD9ED49787B}" dt="2023-11-17T15:04:53.409" v="2708"/>
          <ac:graphicFrameMkLst>
            <pc:docMk/>
            <pc:sldMk cId="1289117044" sldId="2431"/>
            <ac:graphicFrameMk id="9" creationId="{ADB5C681-0F20-2515-3C36-02BE7407BA56}"/>
          </ac:graphicFrameMkLst>
        </pc:graphicFrameChg>
      </pc:sldChg>
      <pc:sldChg chg="addSp delSp modSp mod modNotes">
        <pc:chgData name="van Leeuwen  Sara (VPPL)" userId="7a5f1df4-0dd0-4c9e-a72f-a035cf318af6" providerId="ADAL" clId="{7439252B-60B4-40D9-9D9B-2AD9ED49787B}" dt="2023-11-22T13:26:43.010" v="4632" actId="20577"/>
        <pc:sldMkLst>
          <pc:docMk/>
          <pc:sldMk cId="4240256703" sldId="2434"/>
        </pc:sldMkLst>
        <pc:spChg chg="mod">
          <ac:chgData name="van Leeuwen  Sara (VPPL)" userId="7a5f1df4-0dd0-4c9e-a72f-a035cf318af6" providerId="ADAL" clId="{7439252B-60B4-40D9-9D9B-2AD9ED49787B}" dt="2023-11-17T14:16:23.002" v="2081" actId="948"/>
          <ac:spMkLst>
            <pc:docMk/>
            <pc:sldMk cId="4240256703" sldId="2434"/>
            <ac:spMk id="2" creationId="{79A1C4D2-CFB3-461C-AF47-77E2FE13A7D1}"/>
          </ac:spMkLst>
        </pc:spChg>
        <pc:spChg chg="mod">
          <ac:chgData name="van Leeuwen  Sara (VPPL)" userId="7a5f1df4-0dd0-4c9e-a72f-a035cf318af6" providerId="ADAL" clId="{7439252B-60B4-40D9-9D9B-2AD9ED49787B}" dt="2023-11-17T14:16:21.148" v="589" actId="947"/>
          <ac:spMkLst>
            <pc:docMk/>
            <pc:sldMk cId="4240256703" sldId="2434"/>
            <ac:spMk id="3" creationId="{0388AFFD-3076-49B5-B0DE-559A52DA68A3}"/>
          </ac:spMkLst>
        </pc:spChg>
        <pc:spChg chg="mod">
          <ac:chgData name="van Leeuwen  Sara (VPPL)" userId="7a5f1df4-0dd0-4c9e-a72f-a035cf318af6" providerId="ADAL" clId="{7439252B-60B4-40D9-9D9B-2AD9ED49787B}" dt="2023-11-17T14:16:21.148" v="591" actId="947"/>
          <ac:spMkLst>
            <pc:docMk/>
            <pc:sldMk cId="4240256703" sldId="2434"/>
            <ac:spMk id="4" creationId="{9CA1C58A-C168-4EDF-B8E5-CC4D577EF906}"/>
          </ac:spMkLst>
        </pc:spChg>
        <pc:spChg chg="mod">
          <ac:chgData name="van Leeuwen  Sara (VPPL)" userId="7a5f1df4-0dd0-4c9e-a72f-a035cf318af6" providerId="ADAL" clId="{7439252B-60B4-40D9-9D9B-2AD9ED49787B}" dt="2023-11-17T14:16:21.148" v="593" actId="947"/>
          <ac:spMkLst>
            <pc:docMk/>
            <pc:sldMk cId="4240256703" sldId="2434"/>
            <ac:spMk id="5" creationId="{85D9BC9D-3DA7-45F6-B926-A87C277DD9F8}"/>
          </ac:spMkLst>
        </pc:spChg>
        <pc:spChg chg="mod">
          <ac:chgData name="van Leeuwen  Sara (VPPL)" userId="7a5f1df4-0dd0-4c9e-a72f-a035cf318af6" providerId="ADAL" clId="{7439252B-60B4-40D9-9D9B-2AD9ED49787B}" dt="2023-11-17T14:16:21.148" v="595" actId="947"/>
          <ac:spMkLst>
            <pc:docMk/>
            <pc:sldMk cId="4240256703" sldId="2434"/>
            <ac:spMk id="6" creationId="{10B85623-378B-4EB9-AA11-55C1EBD36CD0}"/>
          </ac:spMkLst>
        </pc:spChg>
        <pc:spChg chg="add del mod modVis">
          <ac:chgData name="van Leeuwen  Sara (VPPL)" userId="7a5f1df4-0dd0-4c9e-a72f-a035cf318af6" providerId="ADAL" clId="{7439252B-60B4-40D9-9D9B-2AD9ED49787B}" dt="2023-11-17T13:57:42.042" v="136"/>
          <ac:spMkLst>
            <pc:docMk/>
            <pc:sldMk cId="4240256703" sldId="2434"/>
            <ac:spMk id="7" creationId="{1C0DDE27-E5DA-977D-FBAB-02187B906293}"/>
          </ac:spMkLst>
        </pc:spChg>
        <pc:spChg chg="mod">
          <ac:chgData name="van Leeuwen  Sara (VPPL)" userId="7a5f1df4-0dd0-4c9e-a72f-a035cf318af6" providerId="ADAL" clId="{7439252B-60B4-40D9-9D9B-2AD9ED49787B}" dt="2023-11-17T14:16:21.148" v="597" actId="947"/>
          <ac:spMkLst>
            <pc:docMk/>
            <pc:sldMk cId="4240256703" sldId="2434"/>
            <ac:spMk id="8" creationId="{3F810E95-1E33-40B3-B601-24721E2C7DA5}"/>
          </ac:spMkLst>
        </pc:spChg>
        <pc:spChg chg="del mod modVis">
          <ac:chgData name="van Leeuwen  Sara (VPPL)" userId="7a5f1df4-0dd0-4c9e-a72f-a035cf318af6" providerId="ADAL" clId="{7439252B-60B4-40D9-9D9B-2AD9ED49787B}" dt="2023-11-17T14:16:23.489" v="2595" actId="478"/>
          <ac:spMkLst>
            <pc:docMk/>
            <pc:sldMk cId="4240256703" sldId="2434"/>
            <ac:spMk id="11" creationId="{A14BB54A-53A9-BE87-DDCA-EA31BB38973A}"/>
          </ac:spMkLst>
        </pc:spChg>
        <pc:graphicFrameChg chg="mod">
          <ac:chgData name="van Leeuwen  Sara (VPPL)" userId="7a5f1df4-0dd0-4c9e-a72f-a035cf318af6" providerId="ADAL" clId="{7439252B-60B4-40D9-9D9B-2AD9ED49787B}" dt="2023-11-17T14:16:23.489" v="2596" actId="1076"/>
          <ac:graphicFrameMkLst>
            <pc:docMk/>
            <pc:sldMk cId="4240256703" sldId="2434"/>
            <ac:graphicFrameMk id="9" creationId="{84319D52-99EE-EE4B-35C3-4C037FDB14E5}"/>
          </ac:graphicFrameMkLst>
        </pc:graphicFrameChg>
        <pc:graphicFrameChg chg="mod modGraphic">
          <ac:chgData name="van Leeuwen  Sara (VPPL)" userId="7a5f1df4-0dd0-4c9e-a72f-a035cf318af6" providerId="ADAL" clId="{7439252B-60B4-40D9-9D9B-2AD9ED49787B}" dt="2023-11-22T13:26:43.010" v="4632" actId="20577"/>
          <ac:graphicFrameMkLst>
            <pc:docMk/>
            <pc:sldMk cId="4240256703" sldId="2434"/>
            <ac:graphicFrameMk id="10" creationId="{0EF152D8-7E22-405A-9145-E64DA0C4FFB0}"/>
          </ac:graphicFrameMkLst>
        </pc:graphicFrameChg>
      </pc:sldChg>
      <pc:sldChg chg="delSp modSp del mod modNotes">
        <pc:chgData name="van Leeuwen  Sara (VPPL)" userId="7a5f1df4-0dd0-4c9e-a72f-a035cf318af6" providerId="ADAL" clId="{7439252B-60B4-40D9-9D9B-2AD9ED49787B}" dt="2023-11-21T13:30:06.569" v="3452" actId="47"/>
        <pc:sldMkLst>
          <pc:docMk/>
          <pc:sldMk cId="366332666" sldId="2435"/>
        </pc:sldMkLst>
        <pc:spChg chg="mod">
          <ac:chgData name="van Leeuwen  Sara (VPPL)" userId="7a5f1df4-0dd0-4c9e-a72f-a035cf318af6" providerId="ADAL" clId="{7439252B-60B4-40D9-9D9B-2AD9ED49787B}" dt="2023-11-17T14:16:23.238" v="2339" actId="948"/>
          <ac:spMkLst>
            <pc:docMk/>
            <pc:sldMk cId="366332666" sldId="2435"/>
            <ac:spMk id="2" creationId="{00000000-0000-0000-0000-000000000000}"/>
          </ac:spMkLst>
        </pc:spChg>
        <pc:spChg chg="del mod modVis">
          <ac:chgData name="van Leeuwen  Sara (VPPL)" userId="7a5f1df4-0dd0-4c9e-a72f-a035cf318af6" providerId="ADAL" clId="{7439252B-60B4-40D9-9D9B-2AD9ED49787B}" dt="2023-11-17T14:16:23.521" v="2624" actId="478"/>
          <ac:spMkLst>
            <pc:docMk/>
            <pc:sldMk cId="366332666" sldId="2435"/>
            <ac:spMk id="3" creationId="{187D51E5-CBB8-BBD0-3B68-A11D07D4B54E}"/>
          </ac:spMkLst>
        </pc:spChg>
        <pc:spChg chg="mod">
          <ac:chgData name="van Leeuwen  Sara (VPPL)" userId="7a5f1df4-0dd0-4c9e-a72f-a035cf318af6" providerId="ADAL" clId="{7439252B-60B4-40D9-9D9B-2AD9ED49787B}" dt="2023-11-17T14:16:21.619" v="1087" actId="947"/>
          <ac:spMkLst>
            <pc:docMk/>
            <pc:sldMk cId="366332666" sldId="2435"/>
            <ac:spMk id="4" creationId="{00000000-0000-0000-0000-000000000000}"/>
          </ac:spMkLst>
        </pc:spChg>
        <pc:spChg chg="mod">
          <ac:chgData name="van Leeuwen  Sara (VPPL)" userId="7a5f1df4-0dd0-4c9e-a72f-a035cf318af6" providerId="ADAL" clId="{7439252B-60B4-40D9-9D9B-2AD9ED49787B}" dt="2023-11-17T14:16:21.619" v="1091" actId="947"/>
          <ac:spMkLst>
            <pc:docMk/>
            <pc:sldMk cId="366332666" sldId="2435"/>
            <ac:spMk id="6" creationId="{00000000-0000-0000-0000-000000000000}"/>
          </ac:spMkLst>
        </pc:spChg>
        <pc:spChg chg="mod">
          <ac:chgData name="van Leeuwen  Sara (VPPL)" userId="7a5f1df4-0dd0-4c9e-a72f-a035cf318af6" providerId="ADAL" clId="{7439252B-60B4-40D9-9D9B-2AD9ED49787B}" dt="2023-11-17T14:16:21.619" v="1089" actId="947"/>
          <ac:spMkLst>
            <pc:docMk/>
            <pc:sldMk cId="366332666" sldId="2435"/>
            <ac:spMk id="8" creationId="{D75AFB06-C0D5-C44A-AFA0-9276A7192873}"/>
          </ac:spMkLst>
        </pc:spChg>
        <pc:spChg chg="mod">
          <ac:chgData name="van Leeuwen  Sara (VPPL)" userId="7a5f1df4-0dd0-4c9e-a72f-a035cf318af6" providerId="ADAL" clId="{7439252B-60B4-40D9-9D9B-2AD9ED49787B}" dt="2023-11-17T14:16:21.619" v="1085" actId="947"/>
          <ac:spMkLst>
            <pc:docMk/>
            <pc:sldMk cId="366332666" sldId="2435"/>
            <ac:spMk id="9" creationId="{B6B24EFB-329E-4BDB-8682-2837E8093CA9}"/>
          </ac:spMkLst>
        </pc:spChg>
        <pc:spChg chg="mod">
          <ac:chgData name="van Leeuwen  Sara (VPPL)" userId="7a5f1df4-0dd0-4c9e-a72f-a035cf318af6" providerId="ADAL" clId="{7439252B-60B4-40D9-9D9B-2AD9ED49787B}" dt="2023-11-17T14:16:21.635" v="1125" actId="947"/>
          <ac:spMkLst>
            <pc:docMk/>
            <pc:sldMk cId="366332666" sldId="2435"/>
            <ac:spMk id="11" creationId="{5EE19B10-BD32-4855-BF14-2D427D1BFDF4}"/>
          </ac:spMkLst>
        </pc:spChg>
        <pc:graphicFrameChg chg="mod">
          <ac:chgData name="van Leeuwen  Sara (VPPL)" userId="7a5f1df4-0dd0-4c9e-a72f-a035cf318af6" providerId="ADAL" clId="{7439252B-60B4-40D9-9D9B-2AD9ED49787B}" dt="2023-11-17T14:16:23.521" v="2625" actId="1076"/>
          <ac:graphicFrameMkLst>
            <pc:docMk/>
            <pc:sldMk cId="366332666" sldId="2435"/>
            <ac:graphicFrameMk id="5" creationId="{4EFD790E-C509-15F3-A548-0254A67D74B6}"/>
          </ac:graphicFrameMkLst>
        </pc:graphicFrameChg>
        <pc:graphicFrameChg chg="modGraphic">
          <ac:chgData name="van Leeuwen  Sara (VPPL)" userId="7a5f1df4-0dd0-4c9e-a72f-a035cf318af6" providerId="ADAL" clId="{7439252B-60B4-40D9-9D9B-2AD9ED49787B}" dt="2023-11-17T14:16:21.635" v="1123" actId="947"/>
          <ac:graphicFrameMkLst>
            <pc:docMk/>
            <pc:sldMk cId="366332666" sldId="2435"/>
            <ac:graphicFrameMk id="10" creationId="{9B7E8B9D-5F9A-4F11-B14F-FECAB6CF2579}"/>
          </ac:graphicFrameMkLst>
        </pc:graphicFrameChg>
      </pc:sldChg>
      <pc:sldChg chg="addSp delSp modSp mod modNotes">
        <pc:chgData name="van Leeuwen  Sara (VPPL)" userId="7a5f1df4-0dd0-4c9e-a72f-a035cf318af6" providerId="ADAL" clId="{7439252B-60B4-40D9-9D9B-2AD9ED49787B}" dt="2023-11-22T13:45:27.549" v="4693"/>
        <pc:sldMkLst>
          <pc:docMk/>
          <pc:sldMk cId="115161503" sldId="2437"/>
        </pc:sldMkLst>
        <pc:spChg chg="mod">
          <ac:chgData name="van Leeuwen  Sara (VPPL)" userId="7a5f1df4-0dd0-4c9e-a72f-a035cf318af6" providerId="ADAL" clId="{7439252B-60B4-40D9-9D9B-2AD9ED49787B}" dt="2023-11-22T12:36:01.622" v="4409" actId="948"/>
          <ac:spMkLst>
            <pc:docMk/>
            <pc:sldMk cId="115161503" sldId="2437"/>
            <ac:spMk id="2" creationId="{00000000-0000-0000-0000-000000000000}"/>
          </ac:spMkLst>
        </pc:spChg>
        <pc:spChg chg="add del mod modVis">
          <ac:chgData name="van Leeuwen  Sara (VPPL)" userId="7a5f1df4-0dd0-4c9e-a72f-a035cf318af6" providerId="ADAL" clId="{7439252B-60B4-40D9-9D9B-2AD9ED49787B}" dt="2023-11-22T12:36:01.637" v="4432"/>
          <ac:spMkLst>
            <pc:docMk/>
            <pc:sldMk cId="115161503" sldId="2437"/>
            <ac:spMk id="3" creationId="{72CF90B1-D2C4-80FD-6462-7B0DD6557BD3}"/>
          </ac:spMkLst>
        </pc:spChg>
        <pc:spChg chg="del mod modVis">
          <ac:chgData name="van Leeuwen  Sara (VPPL)" userId="7a5f1df4-0dd0-4c9e-a72f-a035cf318af6" providerId="ADAL" clId="{7439252B-60B4-40D9-9D9B-2AD9ED49787B}" dt="2023-11-17T14:16:23.536" v="2638" actId="478"/>
          <ac:spMkLst>
            <pc:docMk/>
            <pc:sldMk cId="115161503" sldId="2437"/>
            <ac:spMk id="3" creationId="{D7D5C023-CF5A-1988-61E8-9CFA61CCFF9D}"/>
          </ac:spMkLst>
        </pc:spChg>
        <pc:spChg chg="mod">
          <ac:chgData name="van Leeuwen  Sara (VPPL)" userId="7a5f1df4-0dd0-4c9e-a72f-a035cf318af6" providerId="ADAL" clId="{7439252B-60B4-40D9-9D9B-2AD9ED49787B}" dt="2023-11-17T14:16:21.791" v="1251" actId="947"/>
          <ac:spMkLst>
            <pc:docMk/>
            <pc:sldMk cId="115161503" sldId="2437"/>
            <ac:spMk id="4" creationId="{00000000-0000-0000-0000-000000000000}"/>
          </ac:spMkLst>
        </pc:spChg>
        <pc:spChg chg="mod">
          <ac:chgData name="van Leeuwen  Sara (VPPL)" userId="7a5f1df4-0dd0-4c9e-a72f-a035cf318af6" providerId="ADAL" clId="{7439252B-60B4-40D9-9D9B-2AD9ED49787B}" dt="2023-11-17T14:16:21.791" v="1255" actId="947"/>
          <ac:spMkLst>
            <pc:docMk/>
            <pc:sldMk cId="115161503" sldId="2437"/>
            <ac:spMk id="6" creationId="{00000000-0000-0000-0000-000000000000}"/>
          </ac:spMkLst>
        </pc:spChg>
        <pc:spChg chg="mod">
          <ac:chgData name="van Leeuwen  Sara (VPPL)" userId="7a5f1df4-0dd0-4c9e-a72f-a035cf318af6" providerId="ADAL" clId="{7439252B-60B4-40D9-9D9B-2AD9ED49787B}" dt="2023-11-17T14:16:21.807" v="1259" actId="947"/>
          <ac:spMkLst>
            <pc:docMk/>
            <pc:sldMk cId="115161503" sldId="2437"/>
            <ac:spMk id="9" creationId="{DAD87841-70CF-4F6D-B9E5-42EAA3A807C7}"/>
          </ac:spMkLst>
        </pc:spChg>
        <pc:spChg chg="mod">
          <ac:chgData name="van Leeuwen  Sara (VPPL)" userId="7a5f1df4-0dd0-4c9e-a72f-a035cf318af6" providerId="ADAL" clId="{7439252B-60B4-40D9-9D9B-2AD9ED49787B}" dt="2023-11-22T13:44:38.077" v="4687" actId="14100"/>
          <ac:spMkLst>
            <pc:docMk/>
            <pc:sldMk cId="115161503" sldId="2437"/>
            <ac:spMk id="10" creationId="{00000000-0000-0000-0000-000000000000}"/>
          </ac:spMkLst>
        </pc:spChg>
        <pc:spChg chg="mod">
          <ac:chgData name="van Leeuwen  Sara (VPPL)" userId="7a5f1df4-0dd0-4c9e-a72f-a035cf318af6" providerId="ADAL" clId="{7439252B-60B4-40D9-9D9B-2AD9ED49787B}" dt="2023-11-17T14:16:21.791" v="1253" actId="947"/>
          <ac:spMkLst>
            <pc:docMk/>
            <pc:sldMk cId="115161503" sldId="2437"/>
            <ac:spMk id="12" creationId="{D75AFB06-C0D5-C44A-AFA0-9276A7192873}"/>
          </ac:spMkLst>
        </pc:spChg>
        <pc:spChg chg="mod">
          <ac:chgData name="van Leeuwen  Sara (VPPL)" userId="7a5f1df4-0dd0-4c9e-a72f-a035cf318af6" providerId="ADAL" clId="{7439252B-60B4-40D9-9D9B-2AD9ED49787B}" dt="2023-11-22T13:44:44.775" v="4689" actId="14100"/>
          <ac:spMkLst>
            <pc:docMk/>
            <pc:sldMk cId="115161503" sldId="2437"/>
            <ac:spMk id="13" creationId="{395FE564-E77A-A062-6DE1-DDA7459467A2}"/>
          </ac:spMkLst>
        </pc:spChg>
        <pc:spChg chg="mod">
          <ac:chgData name="van Leeuwen  Sara (VPPL)" userId="7a5f1df4-0dd0-4c9e-a72f-a035cf318af6" providerId="ADAL" clId="{7439252B-60B4-40D9-9D9B-2AD9ED49787B}" dt="2023-11-22T13:45:27.549" v="4693"/>
          <ac:spMkLst>
            <pc:docMk/>
            <pc:sldMk cId="115161503" sldId="2437"/>
            <ac:spMk id="14" creationId="{7528A58F-D640-34E7-6DA4-5A6CA1D82E0E}"/>
          </ac:spMkLst>
        </pc:spChg>
        <pc:graphicFrameChg chg="mod">
          <ac:chgData name="van Leeuwen  Sara (VPPL)" userId="7a5f1df4-0dd0-4c9e-a72f-a035cf318af6" providerId="ADAL" clId="{7439252B-60B4-40D9-9D9B-2AD9ED49787B}" dt="2023-11-22T12:36:01.637" v="4434"/>
          <ac:graphicFrameMkLst>
            <pc:docMk/>
            <pc:sldMk cId="115161503" sldId="2437"/>
            <ac:graphicFrameMk id="5" creationId="{6CD3BF2A-4B05-1D82-BE24-6EDADE277B81}"/>
          </ac:graphicFrameMkLst>
        </pc:graphicFrameChg>
      </pc:sldChg>
      <pc:sldChg chg="delSp modSp del mod modNotes">
        <pc:chgData name="van Leeuwen  Sara (VPPL)" userId="7a5f1df4-0dd0-4c9e-a72f-a035cf318af6" providerId="ADAL" clId="{7439252B-60B4-40D9-9D9B-2AD9ED49787B}" dt="2023-11-21T13:30:18.127" v="3455" actId="47"/>
        <pc:sldMkLst>
          <pc:docMk/>
          <pc:sldMk cId="2093043053" sldId="2438"/>
        </pc:sldMkLst>
        <pc:spChg chg="mod">
          <ac:chgData name="van Leeuwen  Sara (VPPL)" userId="7a5f1df4-0dd0-4c9e-a72f-a035cf318af6" providerId="ADAL" clId="{7439252B-60B4-40D9-9D9B-2AD9ED49787B}" dt="2023-11-17T14:16:23.332" v="2430" actId="948"/>
          <ac:spMkLst>
            <pc:docMk/>
            <pc:sldMk cId="2093043053" sldId="2438"/>
            <ac:spMk id="2" creationId="{00000000-0000-0000-0000-000000000000}"/>
          </ac:spMkLst>
        </pc:spChg>
        <pc:spChg chg="del mod modVis">
          <ac:chgData name="van Leeuwen  Sara (VPPL)" userId="7a5f1df4-0dd0-4c9e-a72f-a035cf318af6" providerId="ADAL" clId="{7439252B-60B4-40D9-9D9B-2AD9ED49787B}" dt="2023-11-17T14:16:23.536" v="2636" actId="478"/>
          <ac:spMkLst>
            <pc:docMk/>
            <pc:sldMk cId="2093043053" sldId="2438"/>
            <ac:spMk id="3" creationId="{3FF71D6F-8CF8-DEF3-96E2-56B2AF075508}"/>
          </ac:spMkLst>
        </pc:spChg>
        <pc:spChg chg="mod">
          <ac:chgData name="van Leeuwen  Sara (VPPL)" userId="7a5f1df4-0dd0-4c9e-a72f-a035cf318af6" providerId="ADAL" clId="{7439252B-60B4-40D9-9D9B-2AD9ED49787B}" dt="2023-11-17T14:16:21.760" v="1209" actId="947"/>
          <ac:spMkLst>
            <pc:docMk/>
            <pc:sldMk cId="2093043053" sldId="2438"/>
            <ac:spMk id="4" creationId="{00000000-0000-0000-0000-000000000000}"/>
          </ac:spMkLst>
        </pc:spChg>
        <pc:spChg chg="mod">
          <ac:chgData name="van Leeuwen  Sara (VPPL)" userId="7a5f1df4-0dd0-4c9e-a72f-a035cf318af6" providerId="ADAL" clId="{7439252B-60B4-40D9-9D9B-2AD9ED49787B}" dt="2023-11-17T14:16:21.775" v="1213" actId="947"/>
          <ac:spMkLst>
            <pc:docMk/>
            <pc:sldMk cId="2093043053" sldId="2438"/>
            <ac:spMk id="6" creationId="{00000000-0000-0000-0000-000000000000}"/>
          </ac:spMkLst>
        </pc:spChg>
        <pc:spChg chg="mod">
          <ac:chgData name="van Leeuwen  Sara (VPPL)" userId="7a5f1df4-0dd0-4c9e-a72f-a035cf318af6" providerId="ADAL" clId="{7439252B-60B4-40D9-9D9B-2AD9ED49787B}" dt="2023-11-17T14:16:21.760" v="1211" actId="947"/>
          <ac:spMkLst>
            <pc:docMk/>
            <pc:sldMk cId="2093043053" sldId="2438"/>
            <ac:spMk id="8" creationId="{D75AFB06-C0D5-C44A-AFA0-9276A7192873}"/>
          </ac:spMkLst>
        </pc:spChg>
        <pc:spChg chg="mod">
          <ac:chgData name="van Leeuwen  Sara (VPPL)" userId="7a5f1df4-0dd0-4c9e-a72f-a035cf318af6" providerId="ADAL" clId="{7439252B-60B4-40D9-9D9B-2AD9ED49787B}" dt="2023-11-17T14:16:21.760" v="1207" actId="947"/>
          <ac:spMkLst>
            <pc:docMk/>
            <pc:sldMk cId="2093043053" sldId="2438"/>
            <ac:spMk id="9" creationId="{B6B24EFB-329E-4BDB-8682-2837E8093CA9}"/>
          </ac:spMkLst>
        </pc:spChg>
        <pc:spChg chg="mod">
          <ac:chgData name="van Leeuwen  Sara (VPPL)" userId="7a5f1df4-0dd0-4c9e-a72f-a035cf318af6" providerId="ADAL" clId="{7439252B-60B4-40D9-9D9B-2AD9ED49787B}" dt="2023-11-17T14:16:21.791" v="1247" actId="947"/>
          <ac:spMkLst>
            <pc:docMk/>
            <pc:sldMk cId="2093043053" sldId="2438"/>
            <ac:spMk id="11" creationId="{5EE19B10-BD32-4855-BF14-2D427D1BFDF4}"/>
          </ac:spMkLst>
        </pc:spChg>
        <pc:graphicFrameChg chg="mod">
          <ac:chgData name="van Leeuwen  Sara (VPPL)" userId="7a5f1df4-0dd0-4c9e-a72f-a035cf318af6" providerId="ADAL" clId="{7439252B-60B4-40D9-9D9B-2AD9ED49787B}" dt="2023-11-17T14:16:23.536" v="2637" actId="1076"/>
          <ac:graphicFrameMkLst>
            <pc:docMk/>
            <pc:sldMk cId="2093043053" sldId="2438"/>
            <ac:graphicFrameMk id="5" creationId="{4EFD790E-C509-15F3-A548-0254A67D74B6}"/>
          </ac:graphicFrameMkLst>
        </pc:graphicFrameChg>
        <pc:graphicFrameChg chg="modGraphic">
          <ac:chgData name="van Leeuwen  Sara (VPPL)" userId="7a5f1df4-0dd0-4c9e-a72f-a035cf318af6" providerId="ADAL" clId="{7439252B-60B4-40D9-9D9B-2AD9ED49787B}" dt="2023-11-17T14:16:21.791" v="1245" actId="947"/>
          <ac:graphicFrameMkLst>
            <pc:docMk/>
            <pc:sldMk cId="2093043053" sldId="2438"/>
            <ac:graphicFrameMk id="10" creationId="{9B7E8B9D-5F9A-4F11-B14F-FECAB6CF2579}"/>
          </ac:graphicFrameMkLst>
        </pc:graphicFrameChg>
      </pc:sldChg>
      <pc:sldChg chg="delSp modSp del mod modNotes">
        <pc:chgData name="van Leeuwen  Sara (VPPL)" userId="7a5f1df4-0dd0-4c9e-a72f-a035cf318af6" providerId="ADAL" clId="{7439252B-60B4-40D9-9D9B-2AD9ED49787B}" dt="2023-11-21T13:30:29.345" v="3458" actId="47"/>
        <pc:sldMkLst>
          <pc:docMk/>
          <pc:sldMk cId="2894523313" sldId="2439"/>
        </pc:sldMkLst>
        <pc:spChg chg="mod">
          <ac:chgData name="van Leeuwen  Sara (VPPL)" userId="7a5f1df4-0dd0-4c9e-a72f-a035cf318af6" providerId="ADAL" clId="{7439252B-60B4-40D9-9D9B-2AD9ED49787B}" dt="2023-11-17T14:16:23.364" v="2466" actId="948"/>
          <ac:spMkLst>
            <pc:docMk/>
            <pc:sldMk cId="2894523313" sldId="2439"/>
            <ac:spMk id="2" creationId="{00000000-0000-0000-0000-000000000000}"/>
          </ac:spMkLst>
        </pc:spChg>
        <pc:spChg chg="del mod modVis">
          <ac:chgData name="van Leeuwen  Sara (VPPL)" userId="7a5f1df4-0dd0-4c9e-a72f-a035cf318af6" providerId="ADAL" clId="{7439252B-60B4-40D9-9D9B-2AD9ED49787B}" dt="2023-11-17T14:16:23.552" v="2640" actId="478"/>
          <ac:spMkLst>
            <pc:docMk/>
            <pc:sldMk cId="2894523313" sldId="2439"/>
            <ac:spMk id="3" creationId="{35187833-486E-D90B-AEFE-CDDA78ACA4D2}"/>
          </ac:spMkLst>
        </pc:spChg>
        <pc:spChg chg="mod">
          <ac:chgData name="van Leeuwen  Sara (VPPL)" userId="7a5f1df4-0dd0-4c9e-a72f-a035cf318af6" providerId="ADAL" clId="{7439252B-60B4-40D9-9D9B-2AD9ED49787B}" dt="2023-11-17T14:16:21.823" v="1269" actId="947"/>
          <ac:spMkLst>
            <pc:docMk/>
            <pc:sldMk cId="2894523313" sldId="2439"/>
            <ac:spMk id="4" creationId="{00000000-0000-0000-0000-000000000000}"/>
          </ac:spMkLst>
        </pc:spChg>
        <pc:spChg chg="mod">
          <ac:chgData name="van Leeuwen  Sara (VPPL)" userId="7a5f1df4-0dd0-4c9e-a72f-a035cf318af6" providerId="ADAL" clId="{7439252B-60B4-40D9-9D9B-2AD9ED49787B}" dt="2023-11-17T14:16:21.823" v="1273" actId="947"/>
          <ac:spMkLst>
            <pc:docMk/>
            <pc:sldMk cId="2894523313" sldId="2439"/>
            <ac:spMk id="6" creationId="{00000000-0000-0000-0000-000000000000}"/>
          </ac:spMkLst>
        </pc:spChg>
        <pc:spChg chg="mod">
          <ac:chgData name="van Leeuwen  Sara (VPPL)" userId="7a5f1df4-0dd0-4c9e-a72f-a035cf318af6" providerId="ADAL" clId="{7439252B-60B4-40D9-9D9B-2AD9ED49787B}" dt="2023-11-17T14:16:21.823" v="1271" actId="947"/>
          <ac:spMkLst>
            <pc:docMk/>
            <pc:sldMk cId="2894523313" sldId="2439"/>
            <ac:spMk id="8" creationId="{D75AFB06-C0D5-C44A-AFA0-9276A7192873}"/>
          </ac:spMkLst>
        </pc:spChg>
        <pc:spChg chg="mod">
          <ac:chgData name="van Leeuwen  Sara (VPPL)" userId="7a5f1df4-0dd0-4c9e-a72f-a035cf318af6" providerId="ADAL" clId="{7439252B-60B4-40D9-9D9B-2AD9ED49787B}" dt="2023-11-17T14:16:21.823" v="1267" actId="947"/>
          <ac:spMkLst>
            <pc:docMk/>
            <pc:sldMk cId="2894523313" sldId="2439"/>
            <ac:spMk id="9" creationId="{B6B24EFB-329E-4BDB-8682-2837E8093CA9}"/>
          </ac:spMkLst>
        </pc:spChg>
        <pc:spChg chg="mod">
          <ac:chgData name="van Leeuwen  Sara (VPPL)" userId="7a5f1df4-0dd0-4c9e-a72f-a035cf318af6" providerId="ADAL" clId="{7439252B-60B4-40D9-9D9B-2AD9ED49787B}" dt="2023-11-17T14:16:21.838" v="1307" actId="947"/>
          <ac:spMkLst>
            <pc:docMk/>
            <pc:sldMk cId="2894523313" sldId="2439"/>
            <ac:spMk id="11" creationId="{5EE19B10-BD32-4855-BF14-2D427D1BFDF4}"/>
          </ac:spMkLst>
        </pc:spChg>
        <pc:graphicFrameChg chg="mod">
          <ac:chgData name="van Leeuwen  Sara (VPPL)" userId="7a5f1df4-0dd0-4c9e-a72f-a035cf318af6" providerId="ADAL" clId="{7439252B-60B4-40D9-9D9B-2AD9ED49787B}" dt="2023-11-17T14:16:23.552" v="2641" actId="1076"/>
          <ac:graphicFrameMkLst>
            <pc:docMk/>
            <pc:sldMk cId="2894523313" sldId="2439"/>
            <ac:graphicFrameMk id="5" creationId="{4EFD790E-C509-15F3-A548-0254A67D74B6}"/>
          </ac:graphicFrameMkLst>
        </pc:graphicFrameChg>
        <pc:graphicFrameChg chg="modGraphic">
          <ac:chgData name="van Leeuwen  Sara (VPPL)" userId="7a5f1df4-0dd0-4c9e-a72f-a035cf318af6" providerId="ADAL" clId="{7439252B-60B4-40D9-9D9B-2AD9ED49787B}" dt="2023-11-17T14:16:21.838" v="1305" actId="947"/>
          <ac:graphicFrameMkLst>
            <pc:docMk/>
            <pc:sldMk cId="2894523313" sldId="2439"/>
            <ac:graphicFrameMk id="10" creationId="{9B7E8B9D-5F9A-4F11-B14F-FECAB6CF2579}"/>
          </ac:graphicFrameMkLst>
        </pc:graphicFrameChg>
      </pc:sldChg>
      <pc:sldChg chg="addSp delSp modSp mod modNotes">
        <pc:chgData name="van Leeuwen  Sara (VPPL)" userId="7a5f1df4-0dd0-4c9e-a72f-a035cf318af6" providerId="ADAL" clId="{7439252B-60B4-40D9-9D9B-2AD9ED49787B}" dt="2023-11-22T12:35:36.288" v="4407" actId="14100"/>
        <pc:sldMkLst>
          <pc:docMk/>
          <pc:sldMk cId="3420152249" sldId="2442"/>
        </pc:sldMkLst>
        <pc:spChg chg="mod ord">
          <ac:chgData name="van Leeuwen  Sara (VPPL)" userId="7a5f1df4-0dd0-4c9e-a72f-a035cf318af6" providerId="ADAL" clId="{7439252B-60B4-40D9-9D9B-2AD9ED49787B}" dt="2023-11-22T12:34:06.963" v="4367"/>
          <ac:spMkLst>
            <pc:docMk/>
            <pc:sldMk cId="3420152249" sldId="2442"/>
            <ac:spMk id="2" creationId="{00000000-0000-0000-0000-000000000000}"/>
          </ac:spMkLst>
        </pc:spChg>
        <pc:spChg chg="mod ord">
          <ac:chgData name="van Leeuwen  Sara (VPPL)" userId="7a5f1df4-0dd0-4c9e-a72f-a035cf318af6" providerId="ADAL" clId="{7439252B-60B4-40D9-9D9B-2AD9ED49787B}" dt="2023-11-22T12:34:06.963" v="4365"/>
          <ac:spMkLst>
            <pc:docMk/>
            <pc:sldMk cId="3420152249" sldId="2442"/>
            <ac:spMk id="3" creationId="{DA9D408E-409A-09DE-FA88-268F95DF1BEC}"/>
          </ac:spMkLst>
        </pc:spChg>
        <pc:spChg chg="mod ord">
          <ac:chgData name="van Leeuwen  Sara (VPPL)" userId="7a5f1df4-0dd0-4c9e-a72f-a035cf318af6" providerId="ADAL" clId="{7439252B-60B4-40D9-9D9B-2AD9ED49787B}" dt="2023-11-22T12:34:06.963" v="4369"/>
          <ac:spMkLst>
            <pc:docMk/>
            <pc:sldMk cId="3420152249" sldId="2442"/>
            <ac:spMk id="4" creationId="{00000000-0000-0000-0000-000000000000}"/>
          </ac:spMkLst>
        </pc:spChg>
        <pc:spChg chg="mod ord">
          <ac:chgData name="van Leeuwen  Sara (VPPL)" userId="7a5f1df4-0dd0-4c9e-a72f-a035cf318af6" providerId="ADAL" clId="{7439252B-60B4-40D9-9D9B-2AD9ED49787B}" dt="2023-11-22T12:34:06.963" v="4373"/>
          <ac:spMkLst>
            <pc:docMk/>
            <pc:sldMk cId="3420152249" sldId="2442"/>
            <ac:spMk id="6" creationId="{00000000-0000-0000-0000-000000000000}"/>
          </ac:spMkLst>
        </pc:spChg>
        <pc:spChg chg="del mod modVis">
          <ac:chgData name="van Leeuwen  Sara (VPPL)" userId="7a5f1df4-0dd0-4c9e-a72f-a035cf318af6" providerId="ADAL" clId="{7439252B-60B4-40D9-9D9B-2AD9ED49787B}" dt="2023-11-17T14:16:23.536" v="2632" actId="478"/>
          <ac:spMkLst>
            <pc:docMk/>
            <pc:sldMk cId="3420152249" sldId="2442"/>
            <ac:spMk id="7" creationId="{6BA8AD90-F367-F5CA-8063-79E3B39F8BB5}"/>
          </ac:spMkLst>
        </pc:spChg>
        <pc:spChg chg="add del mod modVis">
          <ac:chgData name="van Leeuwen  Sara (VPPL)" userId="7a5f1df4-0dd0-4c9e-a72f-a035cf318af6" providerId="ADAL" clId="{7439252B-60B4-40D9-9D9B-2AD9ED49787B}" dt="2023-11-22T12:32:18.776" v="4358"/>
          <ac:spMkLst>
            <pc:docMk/>
            <pc:sldMk cId="3420152249" sldId="2442"/>
            <ac:spMk id="7" creationId="{D98DDB14-5EED-E037-5569-E817491CB22A}"/>
          </ac:spMkLst>
        </pc:spChg>
        <pc:spChg chg="add mod">
          <ac:chgData name="van Leeuwen  Sara (VPPL)" userId="7a5f1df4-0dd0-4c9e-a72f-a035cf318af6" providerId="ADAL" clId="{7439252B-60B4-40D9-9D9B-2AD9ED49787B}" dt="2023-11-22T12:35:36.288" v="4407" actId="14100"/>
          <ac:spMkLst>
            <pc:docMk/>
            <pc:sldMk cId="3420152249" sldId="2442"/>
            <ac:spMk id="8" creationId="{7E82D9E2-4D72-EAE2-EFB6-FD1993DA9AB5}"/>
          </ac:spMkLst>
        </pc:spChg>
        <pc:spChg chg="mod ord">
          <ac:chgData name="van Leeuwen  Sara (VPPL)" userId="7a5f1df4-0dd0-4c9e-a72f-a035cf318af6" providerId="ADAL" clId="{7439252B-60B4-40D9-9D9B-2AD9ED49787B}" dt="2023-11-22T12:34:06.963" v="4375"/>
          <ac:spMkLst>
            <pc:docMk/>
            <pc:sldMk cId="3420152249" sldId="2442"/>
            <ac:spMk id="9" creationId="{DAD87841-70CF-4F6D-B9E5-42EAA3A807C7}"/>
          </ac:spMkLst>
        </pc:spChg>
        <pc:spChg chg="add mod">
          <ac:chgData name="van Leeuwen  Sara (VPPL)" userId="7a5f1df4-0dd0-4c9e-a72f-a035cf318af6" providerId="ADAL" clId="{7439252B-60B4-40D9-9D9B-2AD9ED49787B}" dt="2023-11-22T12:35:36.288" v="4407" actId="14100"/>
          <ac:spMkLst>
            <pc:docMk/>
            <pc:sldMk cId="3420152249" sldId="2442"/>
            <ac:spMk id="10" creationId="{AAF93C9E-A0E3-4A95-4A53-55C6DEA6DE0E}"/>
          </ac:spMkLst>
        </pc:spChg>
        <pc:spChg chg="add mod">
          <ac:chgData name="van Leeuwen  Sara (VPPL)" userId="7a5f1df4-0dd0-4c9e-a72f-a035cf318af6" providerId="ADAL" clId="{7439252B-60B4-40D9-9D9B-2AD9ED49787B}" dt="2023-11-22T12:35:36.288" v="4407" actId="14100"/>
          <ac:spMkLst>
            <pc:docMk/>
            <pc:sldMk cId="3420152249" sldId="2442"/>
            <ac:spMk id="11" creationId="{320A0E14-9902-DE65-9C53-9DE04FF77466}"/>
          </ac:spMkLst>
        </pc:spChg>
        <pc:spChg chg="mod ord">
          <ac:chgData name="van Leeuwen  Sara (VPPL)" userId="7a5f1df4-0dd0-4c9e-a72f-a035cf318af6" providerId="ADAL" clId="{7439252B-60B4-40D9-9D9B-2AD9ED49787B}" dt="2023-11-22T12:34:06.963" v="4371"/>
          <ac:spMkLst>
            <pc:docMk/>
            <pc:sldMk cId="3420152249" sldId="2442"/>
            <ac:spMk id="12" creationId="{D75AFB06-C0D5-C44A-AFA0-9276A7192873}"/>
          </ac:spMkLst>
        </pc:spChg>
        <pc:spChg chg="del mod ord">
          <ac:chgData name="van Leeuwen  Sara (VPPL)" userId="7a5f1df4-0dd0-4c9e-a72f-a035cf318af6" providerId="ADAL" clId="{7439252B-60B4-40D9-9D9B-2AD9ED49787B}" dt="2023-11-22T12:34:21.240" v="4389" actId="478"/>
          <ac:spMkLst>
            <pc:docMk/>
            <pc:sldMk cId="3420152249" sldId="2442"/>
            <ac:spMk id="19" creationId="{A0AA57D8-6525-B82E-1C62-1D086A2C61F0}"/>
          </ac:spMkLst>
        </pc:spChg>
        <pc:spChg chg="del mod ord">
          <ac:chgData name="van Leeuwen  Sara (VPPL)" userId="7a5f1df4-0dd0-4c9e-a72f-a035cf318af6" providerId="ADAL" clId="{7439252B-60B4-40D9-9D9B-2AD9ED49787B}" dt="2023-11-22T12:34:15.114" v="4388" actId="478"/>
          <ac:spMkLst>
            <pc:docMk/>
            <pc:sldMk cId="3420152249" sldId="2442"/>
            <ac:spMk id="20" creationId="{CF7B0E3C-915D-6129-4612-FFB31E8E9DE1}"/>
          </ac:spMkLst>
        </pc:spChg>
        <pc:spChg chg="del mod ord">
          <ac:chgData name="van Leeuwen  Sara (VPPL)" userId="7a5f1df4-0dd0-4c9e-a72f-a035cf318af6" providerId="ADAL" clId="{7439252B-60B4-40D9-9D9B-2AD9ED49787B}" dt="2023-11-22T12:34:21.240" v="4389" actId="478"/>
          <ac:spMkLst>
            <pc:docMk/>
            <pc:sldMk cId="3420152249" sldId="2442"/>
            <ac:spMk id="24" creationId="{75D38813-0E3F-5E16-F430-0CD6F710989C}"/>
          </ac:spMkLst>
        </pc:spChg>
        <pc:graphicFrameChg chg="mod">
          <ac:chgData name="van Leeuwen  Sara (VPPL)" userId="7a5f1df4-0dd0-4c9e-a72f-a035cf318af6" providerId="ADAL" clId="{7439252B-60B4-40D9-9D9B-2AD9ED49787B}" dt="2023-11-22T12:34:06.963" v="4387"/>
          <ac:graphicFrameMkLst>
            <pc:docMk/>
            <pc:sldMk cId="3420152249" sldId="2442"/>
            <ac:graphicFrameMk id="5" creationId="{6CD3BF2A-4B05-1D82-BE24-6EDADE277B81}"/>
          </ac:graphicFrameMkLst>
        </pc:graphicFrameChg>
        <pc:picChg chg="add mod">
          <ac:chgData name="van Leeuwen  Sara (VPPL)" userId="7a5f1df4-0dd0-4c9e-a72f-a035cf318af6" providerId="ADAL" clId="{7439252B-60B4-40D9-9D9B-2AD9ED49787B}" dt="2023-11-22T12:34:41.220" v="4394" actId="1076"/>
          <ac:picMkLst>
            <pc:docMk/>
            <pc:sldMk cId="3420152249" sldId="2442"/>
            <ac:picMk id="13" creationId="{40299F23-3C73-23F6-5862-86682A22CD3A}"/>
          </ac:picMkLst>
        </pc:picChg>
        <pc:picChg chg="del mod ord">
          <ac:chgData name="van Leeuwen  Sara (VPPL)" userId="7a5f1df4-0dd0-4c9e-a72f-a035cf318af6" providerId="ADAL" clId="{7439252B-60B4-40D9-9D9B-2AD9ED49787B}" dt="2023-11-22T12:34:21.240" v="4389" actId="478"/>
          <ac:picMkLst>
            <pc:docMk/>
            <pc:sldMk cId="3420152249" sldId="2442"/>
            <ac:picMk id="26" creationId="{31E44439-1382-DDF9-F549-7C738C45232B}"/>
          </ac:picMkLst>
        </pc:picChg>
      </pc:sldChg>
      <pc:sldChg chg="addSp delSp modSp mod modNotes">
        <pc:chgData name="van Leeuwen  Sara (VPPL)" userId="7a5f1df4-0dd0-4c9e-a72f-a035cf318af6" providerId="ADAL" clId="{7439252B-60B4-40D9-9D9B-2AD9ED49787B}" dt="2023-11-22T12:26:17.158" v="4265"/>
        <pc:sldMkLst>
          <pc:docMk/>
          <pc:sldMk cId="3191170877" sldId="2443"/>
        </pc:sldMkLst>
        <pc:spChg chg="mod">
          <ac:chgData name="van Leeuwen  Sara (VPPL)" userId="7a5f1df4-0dd0-4c9e-a72f-a035cf318af6" providerId="ADAL" clId="{7439252B-60B4-40D9-9D9B-2AD9ED49787B}" dt="2023-11-22T12:25:06.074" v="4239" actId="948"/>
          <ac:spMkLst>
            <pc:docMk/>
            <pc:sldMk cId="3191170877" sldId="2443"/>
            <ac:spMk id="2" creationId="{690BD18C-4CB3-58F7-B41A-F4746B7DAA6D}"/>
          </ac:spMkLst>
        </pc:spChg>
        <pc:spChg chg="mod">
          <ac:chgData name="van Leeuwen  Sara (VPPL)" userId="7a5f1df4-0dd0-4c9e-a72f-a035cf318af6" providerId="ADAL" clId="{7439252B-60B4-40D9-9D9B-2AD9ED49787B}" dt="2023-11-22T12:26:17.158" v="4265"/>
          <ac:spMkLst>
            <pc:docMk/>
            <pc:sldMk cId="3191170877" sldId="2443"/>
            <ac:spMk id="3" creationId="{74ABCEC1-985B-1C66-2D33-43D74A38B600}"/>
          </ac:spMkLst>
        </pc:spChg>
        <pc:spChg chg="mod">
          <ac:chgData name="van Leeuwen  Sara (VPPL)" userId="7a5f1df4-0dd0-4c9e-a72f-a035cf318af6" providerId="ADAL" clId="{7439252B-60B4-40D9-9D9B-2AD9ED49787B}" dt="2023-11-17T14:16:21.666" v="1143" actId="947"/>
          <ac:spMkLst>
            <pc:docMk/>
            <pc:sldMk cId="3191170877" sldId="2443"/>
            <ac:spMk id="4" creationId="{9670A952-0139-987A-EC8F-4073EDA64600}"/>
          </ac:spMkLst>
        </pc:spChg>
        <pc:spChg chg="mod">
          <ac:chgData name="van Leeuwen  Sara (VPPL)" userId="7a5f1df4-0dd0-4c9e-a72f-a035cf318af6" providerId="ADAL" clId="{7439252B-60B4-40D9-9D9B-2AD9ED49787B}" dt="2023-11-17T14:16:21.681" v="1145" actId="947"/>
          <ac:spMkLst>
            <pc:docMk/>
            <pc:sldMk cId="3191170877" sldId="2443"/>
            <ac:spMk id="5" creationId="{E73758D5-CF6A-FFB7-8257-04B99498E9F0}"/>
          </ac:spMkLst>
        </pc:spChg>
        <pc:spChg chg="mod">
          <ac:chgData name="van Leeuwen  Sara (VPPL)" userId="7a5f1df4-0dd0-4c9e-a72f-a035cf318af6" providerId="ADAL" clId="{7439252B-60B4-40D9-9D9B-2AD9ED49787B}" dt="2023-11-17T14:16:21.681" v="1147" actId="947"/>
          <ac:spMkLst>
            <pc:docMk/>
            <pc:sldMk cId="3191170877" sldId="2443"/>
            <ac:spMk id="6" creationId="{6EFA5949-A927-7AC7-C6ED-10D752493660}"/>
          </ac:spMkLst>
        </pc:spChg>
        <pc:spChg chg="add mod">
          <ac:chgData name="van Leeuwen  Sara (VPPL)" userId="7a5f1df4-0dd0-4c9e-a72f-a035cf318af6" providerId="ADAL" clId="{7439252B-60B4-40D9-9D9B-2AD9ED49787B}" dt="2023-11-17T14:16:21.681" v="1153" actId="947"/>
          <ac:spMkLst>
            <pc:docMk/>
            <pc:sldMk cId="3191170877" sldId="2443"/>
            <ac:spMk id="7" creationId="{A54DB2AE-D44F-EB40-0BE7-3390B8FBFE89}"/>
          </ac:spMkLst>
        </pc:spChg>
        <pc:spChg chg="mod">
          <ac:chgData name="van Leeuwen  Sara (VPPL)" userId="7a5f1df4-0dd0-4c9e-a72f-a035cf318af6" providerId="ADAL" clId="{7439252B-60B4-40D9-9D9B-2AD9ED49787B}" dt="2023-11-17T14:16:21.681" v="1149" actId="947"/>
          <ac:spMkLst>
            <pc:docMk/>
            <pc:sldMk cId="3191170877" sldId="2443"/>
            <ac:spMk id="10" creationId="{EE1D506E-5D02-8A5C-4A4B-3A6A063A5333}"/>
          </ac:spMkLst>
        </pc:spChg>
        <pc:spChg chg="mod">
          <ac:chgData name="van Leeuwen  Sara (VPPL)" userId="7a5f1df4-0dd0-4c9e-a72f-a035cf318af6" providerId="ADAL" clId="{7439252B-60B4-40D9-9D9B-2AD9ED49787B}" dt="2023-11-17T14:16:21.681" v="1151" actId="947"/>
          <ac:spMkLst>
            <pc:docMk/>
            <pc:sldMk cId="3191170877" sldId="2443"/>
            <ac:spMk id="11" creationId="{440EE002-4B69-87FC-507F-89631202D4D4}"/>
          </ac:spMkLst>
        </pc:spChg>
        <pc:spChg chg="add del mod modVis">
          <ac:chgData name="van Leeuwen  Sara (VPPL)" userId="7a5f1df4-0dd0-4c9e-a72f-a035cf318af6" providerId="ADAL" clId="{7439252B-60B4-40D9-9D9B-2AD9ED49787B}" dt="2023-11-22T12:25:06.090" v="4262"/>
          <ac:spMkLst>
            <pc:docMk/>
            <pc:sldMk cId="3191170877" sldId="2443"/>
            <ac:spMk id="12" creationId="{28AA763B-02A8-CF60-F129-066BE6C6AB53}"/>
          </ac:spMkLst>
        </pc:spChg>
        <pc:spChg chg="del mod modVis">
          <ac:chgData name="van Leeuwen  Sara (VPPL)" userId="7a5f1df4-0dd0-4c9e-a72f-a035cf318af6" providerId="ADAL" clId="{7439252B-60B4-40D9-9D9B-2AD9ED49787B}" dt="2023-11-17T14:16:23.536" v="2628" actId="478"/>
          <ac:spMkLst>
            <pc:docMk/>
            <pc:sldMk cId="3191170877" sldId="2443"/>
            <ac:spMk id="12" creationId="{4BE78D7B-9BBF-5F44-E8C6-847BBC133A66}"/>
          </ac:spMkLst>
        </pc:spChg>
        <pc:graphicFrameChg chg="mod">
          <ac:chgData name="van Leeuwen  Sara (VPPL)" userId="7a5f1df4-0dd0-4c9e-a72f-a035cf318af6" providerId="ADAL" clId="{7439252B-60B4-40D9-9D9B-2AD9ED49787B}" dt="2023-11-22T12:25:06.090" v="4264"/>
          <ac:graphicFrameMkLst>
            <pc:docMk/>
            <pc:sldMk cId="3191170877" sldId="2443"/>
            <ac:graphicFrameMk id="8" creationId="{FF86D724-693B-0D9D-47EA-2D497893D3B1}"/>
          </ac:graphicFrameMkLst>
        </pc:graphicFrameChg>
      </pc:sldChg>
      <pc:sldChg chg="addSp delSp modSp mod modNotes">
        <pc:chgData name="van Leeuwen  Sara (VPPL)" userId="7a5f1df4-0dd0-4c9e-a72f-a035cf318af6" providerId="ADAL" clId="{7439252B-60B4-40D9-9D9B-2AD9ED49787B}" dt="2023-11-22T12:24:42.071" v="4237"/>
        <pc:sldMkLst>
          <pc:docMk/>
          <pc:sldMk cId="3213314599" sldId="2444"/>
        </pc:sldMkLst>
        <pc:spChg chg="mod">
          <ac:chgData name="van Leeuwen  Sara (VPPL)" userId="7a5f1df4-0dd0-4c9e-a72f-a035cf318af6" providerId="ADAL" clId="{7439252B-60B4-40D9-9D9B-2AD9ED49787B}" dt="2023-11-22T12:24:42.055" v="4212" actId="948"/>
          <ac:spMkLst>
            <pc:docMk/>
            <pc:sldMk cId="3213314599" sldId="2444"/>
            <ac:spMk id="2" creationId="{00000000-0000-0000-0000-000000000000}"/>
          </ac:spMkLst>
        </pc:spChg>
        <pc:spChg chg="mod">
          <ac:chgData name="van Leeuwen  Sara (VPPL)" userId="7a5f1df4-0dd0-4c9e-a72f-a035cf318af6" providerId="ADAL" clId="{7439252B-60B4-40D9-9D9B-2AD9ED49787B}" dt="2023-11-22T12:23:59.534" v="4180" actId="14100"/>
          <ac:spMkLst>
            <pc:docMk/>
            <pc:sldMk cId="3213314599" sldId="2444"/>
            <ac:spMk id="3" creationId="{00000000-0000-0000-0000-000000000000}"/>
          </ac:spMkLst>
        </pc:spChg>
        <pc:spChg chg="mod">
          <ac:chgData name="van Leeuwen  Sara (VPPL)" userId="7a5f1df4-0dd0-4c9e-a72f-a035cf318af6" providerId="ADAL" clId="{7439252B-60B4-40D9-9D9B-2AD9ED49787B}" dt="2023-11-17T14:16:21.493" v="961" actId="947"/>
          <ac:spMkLst>
            <pc:docMk/>
            <pc:sldMk cId="3213314599" sldId="2444"/>
            <ac:spMk id="4" creationId="{00000000-0000-0000-0000-000000000000}"/>
          </ac:spMkLst>
        </pc:spChg>
        <pc:spChg chg="mod">
          <ac:chgData name="van Leeuwen  Sara (VPPL)" userId="7a5f1df4-0dd0-4c9e-a72f-a035cf318af6" providerId="ADAL" clId="{7439252B-60B4-40D9-9D9B-2AD9ED49787B}" dt="2023-11-17T14:16:21.509" v="967" actId="947"/>
          <ac:spMkLst>
            <pc:docMk/>
            <pc:sldMk cId="3213314599" sldId="2444"/>
            <ac:spMk id="5" creationId="{C4E4176B-2361-477E-A786-7B1E08DDED95}"/>
          </ac:spMkLst>
        </pc:spChg>
        <pc:spChg chg="mod">
          <ac:chgData name="van Leeuwen  Sara (VPPL)" userId="7a5f1df4-0dd0-4c9e-a72f-a035cf318af6" providerId="ADAL" clId="{7439252B-60B4-40D9-9D9B-2AD9ED49787B}" dt="2023-11-17T14:16:21.509" v="965" actId="947"/>
          <ac:spMkLst>
            <pc:docMk/>
            <pc:sldMk cId="3213314599" sldId="2444"/>
            <ac:spMk id="6" creationId="{00000000-0000-0000-0000-000000000000}"/>
          </ac:spMkLst>
        </pc:spChg>
        <pc:spChg chg="add del mod modVis">
          <ac:chgData name="van Leeuwen  Sara (VPPL)" userId="7a5f1df4-0dd0-4c9e-a72f-a035cf318af6" providerId="ADAL" clId="{7439252B-60B4-40D9-9D9B-2AD9ED49787B}" dt="2023-11-22T12:20:28.527" v="4078"/>
          <ac:spMkLst>
            <pc:docMk/>
            <pc:sldMk cId="3213314599" sldId="2444"/>
            <ac:spMk id="7" creationId="{075DF47B-A965-5D80-F4F1-1A4CE61E843C}"/>
          </ac:spMkLst>
        </pc:spChg>
        <pc:spChg chg="del mod modVis">
          <ac:chgData name="van Leeuwen  Sara (VPPL)" userId="7a5f1df4-0dd0-4c9e-a72f-a035cf318af6" providerId="ADAL" clId="{7439252B-60B4-40D9-9D9B-2AD9ED49787B}" dt="2023-11-17T14:16:23.521" v="2616" actId="478"/>
          <ac:spMkLst>
            <pc:docMk/>
            <pc:sldMk cId="3213314599" sldId="2444"/>
            <ac:spMk id="7" creationId="{4E7CC1F7-5ACB-FA0A-E985-F26BDDE69248}"/>
          </ac:spMkLst>
        </pc:spChg>
        <pc:spChg chg="mod">
          <ac:chgData name="van Leeuwen  Sara (VPPL)" userId="7a5f1df4-0dd0-4c9e-a72f-a035cf318af6" providerId="ADAL" clId="{7439252B-60B4-40D9-9D9B-2AD9ED49787B}" dt="2023-11-17T14:16:21.493" v="963" actId="947"/>
          <ac:spMkLst>
            <pc:docMk/>
            <pc:sldMk cId="3213314599" sldId="2444"/>
            <ac:spMk id="8" creationId="{D75AFB06-C0D5-C44A-AFA0-9276A7192873}"/>
          </ac:spMkLst>
        </pc:spChg>
        <pc:spChg chg="add del mod modVis">
          <ac:chgData name="van Leeuwen  Sara (VPPL)" userId="7a5f1df4-0dd0-4c9e-a72f-a035cf318af6" providerId="ADAL" clId="{7439252B-60B4-40D9-9D9B-2AD9ED49787B}" dt="2023-11-22T12:20:35.304" v="4105"/>
          <ac:spMkLst>
            <pc:docMk/>
            <pc:sldMk cId="3213314599" sldId="2444"/>
            <ac:spMk id="10" creationId="{DDE0C251-D68D-24A0-9F9E-734CC4F7EADE}"/>
          </ac:spMkLst>
        </pc:spChg>
        <pc:spChg chg="add del mod modVis">
          <ac:chgData name="van Leeuwen  Sara (VPPL)" userId="7a5f1df4-0dd0-4c9e-a72f-a035cf318af6" providerId="ADAL" clId="{7439252B-60B4-40D9-9D9B-2AD9ED49787B}" dt="2023-11-22T12:20:37.854" v="4132"/>
          <ac:spMkLst>
            <pc:docMk/>
            <pc:sldMk cId="3213314599" sldId="2444"/>
            <ac:spMk id="11" creationId="{8778163C-B684-B550-CFC6-38BFC5DED1D2}"/>
          </ac:spMkLst>
        </pc:spChg>
        <pc:spChg chg="add del mod modVis">
          <ac:chgData name="van Leeuwen  Sara (VPPL)" userId="7a5f1df4-0dd0-4c9e-a72f-a035cf318af6" providerId="ADAL" clId="{7439252B-60B4-40D9-9D9B-2AD9ED49787B}" dt="2023-11-22T12:20:40.469" v="4159"/>
          <ac:spMkLst>
            <pc:docMk/>
            <pc:sldMk cId="3213314599" sldId="2444"/>
            <ac:spMk id="12" creationId="{9E5C6B61-3A7C-B4D5-839F-0A1A2199D62E}"/>
          </ac:spMkLst>
        </pc:spChg>
        <pc:spChg chg="add del mod modVis">
          <ac:chgData name="van Leeuwen  Sara (VPPL)" userId="7a5f1df4-0dd0-4c9e-a72f-a035cf318af6" providerId="ADAL" clId="{7439252B-60B4-40D9-9D9B-2AD9ED49787B}" dt="2023-11-22T12:24:42.071" v="4235"/>
          <ac:spMkLst>
            <pc:docMk/>
            <pc:sldMk cId="3213314599" sldId="2444"/>
            <ac:spMk id="13" creationId="{6487181F-0E03-57AC-30C1-686E3F6FD300}"/>
          </ac:spMkLst>
        </pc:spChg>
        <pc:graphicFrameChg chg="mod">
          <ac:chgData name="van Leeuwen  Sara (VPPL)" userId="7a5f1df4-0dd0-4c9e-a72f-a035cf318af6" providerId="ADAL" clId="{7439252B-60B4-40D9-9D9B-2AD9ED49787B}" dt="2023-11-22T12:24:42.071" v="4237"/>
          <ac:graphicFrameMkLst>
            <pc:docMk/>
            <pc:sldMk cId="3213314599" sldId="2444"/>
            <ac:graphicFrameMk id="9" creationId="{790F68F1-68CA-ADEE-CF64-C1974CB68317}"/>
          </ac:graphicFrameMkLst>
        </pc:graphicFrameChg>
      </pc:sldChg>
      <pc:sldChg chg="addSp delSp modSp mod modNotes">
        <pc:chgData name="van Leeuwen  Sara (VPPL)" userId="7a5f1df4-0dd0-4c9e-a72f-a035cf318af6" providerId="ADAL" clId="{7439252B-60B4-40D9-9D9B-2AD9ED49787B}" dt="2023-11-22T12:24:35.757" v="4210"/>
        <pc:sldMkLst>
          <pc:docMk/>
          <pc:sldMk cId="687061124" sldId="2445"/>
        </pc:sldMkLst>
        <pc:spChg chg="mod">
          <ac:chgData name="van Leeuwen  Sara (VPPL)" userId="7a5f1df4-0dd0-4c9e-a72f-a035cf318af6" providerId="ADAL" clId="{7439252B-60B4-40D9-9D9B-2AD9ED49787B}" dt="2023-11-22T12:24:35.741" v="4185" actId="948"/>
          <ac:spMkLst>
            <pc:docMk/>
            <pc:sldMk cId="687061124" sldId="2445"/>
            <ac:spMk id="2" creationId="{00000000-0000-0000-0000-000000000000}"/>
          </ac:spMkLst>
        </pc:spChg>
        <pc:spChg chg="mod">
          <ac:chgData name="van Leeuwen  Sara (VPPL)" userId="7a5f1df4-0dd0-4c9e-a72f-a035cf318af6" providerId="ADAL" clId="{7439252B-60B4-40D9-9D9B-2AD9ED49787B}" dt="2023-11-22T12:24:10.321" v="4183" actId="6549"/>
          <ac:spMkLst>
            <pc:docMk/>
            <pc:sldMk cId="687061124" sldId="2445"/>
            <ac:spMk id="3" creationId="{00000000-0000-0000-0000-000000000000}"/>
          </ac:spMkLst>
        </pc:spChg>
        <pc:spChg chg="mod">
          <ac:chgData name="van Leeuwen  Sara (VPPL)" userId="7a5f1df4-0dd0-4c9e-a72f-a035cf318af6" providerId="ADAL" clId="{7439252B-60B4-40D9-9D9B-2AD9ED49787B}" dt="2023-11-17T14:16:21.666" v="1131" actId="947"/>
          <ac:spMkLst>
            <pc:docMk/>
            <pc:sldMk cId="687061124" sldId="2445"/>
            <ac:spMk id="4" creationId="{00000000-0000-0000-0000-000000000000}"/>
          </ac:spMkLst>
        </pc:spChg>
        <pc:spChg chg="mod">
          <ac:chgData name="van Leeuwen  Sara (VPPL)" userId="7a5f1df4-0dd0-4c9e-a72f-a035cf318af6" providerId="ADAL" clId="{7439252B-60B4-40D9-9D9B-2AD9ED49787B}" dt="2023-11-17T14:16:21.666" v="1137" actId="947"/>
          <ac:spMkLst>
            <pc:docMk/>
            <pc:sldMk cId="687061124" sldId="2445"/>
            <ac:spMk id="5" creationId="{C4E4176B-2361-477E-A786-7B1E08DDED95}"/>
          </ac:spMkLst>
        </pc:spChg>
        <pc:spChg chg="mod">
          <ac:chgData name="van Leeuwen  Sara (VPPL)" userId="7a5f1df4-0dd0-4c9e-a72f-a035cf318af6" providerId="ADAL" clId="{7439252B-60B4-40D9-9D9B-2AD9ED49787B}" dt="2023-11-17T14:16:21.666" v="1135" actId="947"/>
          <ac:spMkLst>
            <pc:docMk/>
            <pc:sldMk cId="687061124" sldId="2445"/>
            <ac:spMk id="6" creationId="{00000000-0000-0000-0000-000000000000}"/>
          </ac:spMkLst>
        </pc:spChg>
        <pc:spChg chg="del mod modVis">
          <ac:chgData name="van Leeuwen  Sara (VPPL)" userId="7a5f1df4-0dd0-4c9e-a72f-a035cf318af6" providerId="ADAL" clId="{7439252B-60B4-40D9-9D9B-2AD9ED49787B}" dt="2023-11-17T14:16:23.521" v="2626" actId="478"/>
          <ac:spMkLst>
            <pc:docMk/>
            <pc:sldMk cId="687061124" sldId="2445"/>
            <ac:spMk id="7" creationId="{2A03EA55-BF8B-379A-96D9-DDFDA5F19DEE}"/>
          </ac:spMkLst>
        </pc:spChg>
        <pc:spChg chg="add del mod modVis">
          <ac:chgData name="van Leeuwen  Sara (VPPL)" userId="7a5f1df4-0dd0-4c9e-a72f-a035cf318af6" providerId="ADAL" clId="{7439252B-60B4-40D9-9D9B-2AD9ED49787B}" dt="2023-11-22T12:24:35.757" v="4208"/>
          <ac:spMkLst>
            <pc:docMk/>
            <pc:sldMk cId="687061124" sldId="2445"/>
            <ac:spMk id="7" creationId="{2A0B4750-1654-F3AF-8704-57C901754D02}"/>
          </ac:spMkLst>
        </pc:spChg>
        <pc:spChg chg="mod">
          <ac:chgData name="van Leeuwen  Sara (VPPL)" userId="7a5f1df4-0dd0-4c9e-a72f-a035cf318af6" providerId="ADAL" clId="{7439252B-60B4-40D9-9D9B-2AD9ED49787B}" dt="2023-11-17T14:16:21.666" v="1133" actId="947"/>
          <ac:spMkLst>
            <pc:docMk/>
            <pc:sldMk cId="687061124" sldId="2445"/>
            <ac:spMk id="8" creationId="{D75AFB06-C0D5-C44A-AFA0-9276A7192873}"/>
          </ac:spMkLst>
        </pc:spChg>
        <pc:graphicFrameChg chg="mod">
          <ac:chgData name="van Leeuwen  Sara (VPPL)" userId="7a5f1df4-0dd0-4c9e-a72f-a035cf318af6" providerId="ADAL" clId="{7439252B-60B4-40D9-9D9B-2AD9ED49787B}" dt="2023-11-22T12:24:35.757" v="4210"/>
          <ac:graphicFrameMkLst>
            <pc:docMk/>
            <pc:sldMk cId="687061124" sldId="2445"/>
            <ac:graphicFrameMk id="9" creationId="{6330197E-17A9-F408-EFC3-A8EBC43E8B0A}"/>
          </ac:graphicFrameMkLst>
        </pc:graphicFrameChg>
      </pc:sldChg>
      <pc:sldChg chg="addSp modSp mod modNotes">
        <pc:chgData name="van Leeuwen  Sara (VPPL)" userId="7a5f1df4-0dd0-4c9e-a72f-a035cf318af6" providerId="ADAL" clId="{7439252B-60B4-40D9-9D9B-2AD9ED49787B}" dt="2023-11-22T12:32:00.341" v="4333" actId="20577"/>
        <pc:sldMkLst>
          <pc:docMk/>
          <pc:sldMk cId="645604469" sldId="2446"/>
        </pc:sldMkLst>
        <pc:spChg chg="add mod">
          <ac:chgData name="van Leeuwen  Sara (VPPL)" userId="7a5f1df4-0dd0-4c9e-a72f-a035cf318af6" providerId="ADAL" clId="{7439252B-60B4-40D9-9D9B-2AD9ED49787B}" dt="2023-11-17T14:16:21.744" v="1193" actId="947"/>
          <ac:spMkLst>
            <pc:docMk/>
            <pc:sldMk cId="645604469" sldId="2446"/>
            <ac:spMk id="2" creationId="{DF4FF5CC-ABEC-B79E-874B-40214B89CC6D}"/>
          </ac:spMkLst>
        </pc:spChg>
        <pc:spChg chg="mod">
          <ac:chgData name="van Leeuwen  Sara (VPPL)" userId="7a5f1df4-0dd0-4c9e-a72f-a035cf318af6" providerId="ADAL" clId="{7439252B-60B4-40D9-9D9B-2AD9ED49787B}" dt="2023-11-22T12:32:00.341" v="4333" actId="20577"/>
          <ac:spMkLst>
            <pc:docMk/>
            <pc:sldMk cId="645604469" sldId="2446"/>
            <ac:spMk id="3" creationId="{CD164694-0894-5683-F43E-332E0F82F468}"/>
          </ac:spMkLst>
        </pc:spChg>
        <pc:spChg chg="mod">
          <ac:chgData name="van Leeuwen  Sara (VPPL)" userId="7a5f1df4-0dd0-4c9e-a72f-a035cf318af6" providerId="ADAL" clId="{7439252B-60B4-40D9-9D9B-2AD9ED49787B}" dt="2023-11-17T14:16:21.744" v="1187" actId="947"/>
          <ac:spMkLst>
            <pc:docMk/>
            <pc:sldMk cId="645604469" sldId="2446"/>
            <ac:spMk id="4" creationId="{503B1E74-5023-4D15-B036-C90C46C67203}"/>
          </ac:spMkLst>
        </pc:spChg>
        <pc:spChg chg="mod">
          <ac:chgData name="van Leeuwen  Sara (VPPL)" userId="7a5f1df4-0dd0-4c9e-a72f-a035cf318af6" providerId="ADAL" clId="{7439252B-60B4-40D9-9D9B-2AD9ED49787B}" dt="2023-11-17T14:16:21.744" v="1189" actId="947"/>
          <ac:spMkLst>
            <pc:docMk/>
            <pc:sldMk cId="645604469" sldId="2446"/>
            <ac:spMk id="5" creationId="{985DE3C5-74AD-C105-2AAE-E8BA874F5D40}"/>
          </ac:spMkLst>
        </pc:spChg>
        <pc:spChg chg="mod">
          <ac:chgData name="van Leeuwen  Sara (VPPL)" userId="7a5f1df4-0dd0-4c9e-a72f-a035cf318af6" providerId="ADAL" clId="{7439252B-60B4-40D9-9D9B-2AD9ED49787B}" dt="2023-11-17T14:16:21.744" v="1191" actId="947"/>
          <ac:spMkLst>
            <pc:docMk/>
            <pc:sldMk cId="645604469" sldId="2446"/>
            <ac:spMk id="6" creationId="{E5170B01-4FDA-7FC8-A45E-4C6ED2C6E843}"/>
          </ac:spMkLst>
        </pc:spChg>
        <pc:graphicFrameChg chg="mod">
          <ac:chgData name="van Leeuwen  Sara (VPPL)" userId="7a5f1df4-0dd0-4c9e-a72f-a035cf318af6" providerId="ADAL" clId="{7439252B-60B4-40D9-9D9B-2AD9ED49787B}" dt="2023-11-17T14:16:23.536" v="2634" actId="1076"/>
          <ac:graphicFrameMkLst>
            <pc:docMk/>
            <pc:sldMk cId="645604469" sldId="2446"/>
            <ac:graphicFrameMk id="7" creationId="{27DFCCEE-8338-B7E3-4737-914D17E02297}"/>
          </ac:graphicFrameMkLst>
        </pc:graphicFrameChg>
      </pc:sldChg>
      <pc:sldChg chg="addSp delSp modSp mod modNotes">
        <pc:chgData name="van Leeuwen  Sara (VPPL)" userId="7a5f1df4-0dd0-4c9e-a72f-a035cf318af6" providerId="ADAL" clId="{7439252B-60B4-40D9-9D9B-2AD9ED49787B}" dt="2023-11-22T12:30:23.241" v="4327" actId="113"/>
        <pc:sldMkLst>
          <pc:docMk/>
          <pc:sldMk cId="217941384" sldId="2447"/>
        </pc:sldMkLst>
        <pc:spChg chg="mod">
          <ac:chgData name="van Leeuwen  Sara (VPPL)" userId="7a5f1df4-0dd0-4c9e-a72f-a035cf318af6" providerId="ADAL" clId="{7439252B-60B4-40D9-9D9B-2AD9ED49787B}" dt="2023-11-22T12:27:11.556" v="4267" actId="948"/>
          <ac:spMkLst>
            <pc:docMk/>
            <pc:sldMk cId="217941384" sldId="2447"/>
            <ac:spMk id="2" creationId="{00000000-0000-0000-0000-000000000000}"/>
          </ac:spMkLst>
        </pc:spChg>
        <pc:spChg chg="mod">
          <ac:chgData name="van Leeuwen  Sara (VPPL)" userId="7a5f1df4-0dd0-4c9e-a72f-a035cf318af6" providerId="ADAL" clId="{7439252B-60B4-40D9-9D9B-2AD9ED49787B}" dt="2023-11-22T12:30:23.241" v="4327" actId="113"/>
          <ac:spMkLst>
            <pc:docMk/>
            <pc:sldMk cId="217941384" sldId="2447"/>
            <ac:spMk id="3" creationId="{00000000-0000-0000-0000-000000000000}"/>
          </ac:spMkLst>
        </pc:spChg>
        <pc:spChg chg="mod">
          <ac:chgData name="van Leeuwen  Sara (VPPL)" userId="7a5f1df4-0dd0-4c9e-a72f-a035cf318af6" providerId="ADAL" clId="{7439252B-60B4-40D9-9D9B-2AD9ED49787B}" dt="2023-11-17T14:16:21.713" v="1159" actId="947"/>
          <ac:spMkLst>
            <pc:docMk/>
            <pc:sldMk cId="217941384" sldId="2447"/>
            <ac:spMk id="4" creationId="{00000000-0000-0000-0000-000000000000}"/>
          </ac:spMkLst>
        </pc:spChg>
        <pc:spChg chg="mod">
          <ac:chgData name="van Leeuwen  Sara (VPPL)" userId="7a5f1df4-0dd0-4c9e-a72f-a035cf318af6" providerId="ADAL" clId="{7439252B-60B4-40D9-9D9B-2AD9ED49787B}" dt="2023-11-17T14:16:21.716" v="1165" actId="947"/>
          <ac:spMkLst>
            <pc:docMk/>
            <pc:sldMk cId="217941384" sldId="2447"/>
            <ac:spMk id="5" creationId="{C4E4176B-2361-477E-A786-7B1E08DDED95}"/>
          </ac:spMkLst>
        </pc:spChg>
        <pc:spChg chg="mod">
          <ac:chgData name="van Leeuwen  Sara (VPPL)" userId="7a5f1df4-0dd0-4c9e-a72f-a035cf318af6" providerId="ADAL" clId="{7439252B-60B4-40D9-9D9B-2AD9ED49787B}" dt="2023-11-17T14:16:21.716" v="1163" actId="947"/>
          <ac:spMkLst>
            <pc:docMk/>
            <pc:sldMk cId="217941384" sldId="2447"/>
            <ac:spMk id="6" creationId="{00000000-0000-0000-0000-000000000000}"/>
          </ac:spMkLst>
        </pc:spChg>
        <pc:spChg chg="del mod modVis">
          <ac:chgData name="van Leeuwen  Sara (VPPL)" userId="7a5f1df4-0dd0-4c9e-a72f-a035cf318af6" providerId="ADAL" clId="{7439252B-60B4-40D9-9D9B-2AD9ED49787B}" dt="2023-11-17T14:16:23.536" v="2630" actId="478"/>
          <ac:spMkLst>
            <pc:docMk/>
            <pc:sldMk cId="217941384" sldId="2447"/>
            <ac:spMk id="7" creationId="{7D80684B-62F2-0B0E-A127-C0C73077FCAA}"/>
          </ac:spMkLst>
        </pc:spChg>
        <pc:spChg chg="add del mod modVis">
          <ac:chgData name="van Leeuwen  Sara (VPPL)" userId="7a5f1df4-0dd0-4c9e-a72f-a035cf318af6" providerId="ADAL" clId="{7439252B-60B4-40D9-9D9B-2AD9ED49787B}" dt="2023-11-22T12:27:11.579" v="4290"/>
          <ac:spMkLst>
            <pc:docMk/>
            <pc:sldMk cId="217941384" sldId="2447"/>
            <ac:spMk id="7" creationId="{A11853FC-5101-D19E-E081-65443F087077}"/>
          </ac:spMkLst>
        </pc:spChg>
        <pc:spChg chg="mod">
          <ac:chgData name="van Leeuwen  Sara (VPPL)" userId="7a5f1df4-0dd0-4c9e-a72f-a035cf318af6" providerId="ADAL" clId="{7439252B-60B4-40D9-9D9B-2AD9ED49787B}" dt="2023-11-17T14:16:21.716" v="1161" actId="947"/>
          <ac:spMkLst>
            <pc:docMk/>
            <pc:sldMk cId="217941384" sldId="2447"/>
            <ac:spMk id="8" creationId="{D75AFB06-C0D5-C44A-AFA0-9276A7192873}"/>
          </ac:spMkLst>
        </pc:spChg>
        <pc:graphicFrameChg chg="mod">
          <ac:chgData name="van Leeuwen  Sara (VPPL)" userId="7a5f1df4-0dd0-4c9e-a72f-a035cf318af6" providerId="ADAL" clId="{7439252B-60B4-40D9-9D9B-2AD9ED49787B}" dt="2023-11-22T12:27:11.579" v="4292"/>
          <ac:graphicFrameMkLst>
            <pc:docMk/>
            <pc:sldMk cId="217941384" sldId="2447"/>
            <ac:graphicFrameMk id="9" creationId="{790F68F1-68CA-ADEE-CF64-C1974CB68317}"/>
          </ac:graphicFrameMkLst>
        </pc:graphicFrameChg>
      </pc:sldChg>
      <pc:sldChg chg="addSp delSp modSp mod modNotes">
        <pc:chgData name="van Leeuwen  Sara (VPPL)" userId="7a5f1df4-0dd0-4c9e-a72f-a035cf318af6" providerId="ADAL" clId="{7439252B-60B4-40D9-9D9B-2AD9ED49787B}" dt="2023-11-22T13:16:06.177" v="4625" actId="20577"/>
        <pc:sldMkLst>
          <pc:docMk/>
          <pc:sldMk cId="1765676676" sldId="2448"/>
        </pc:sldMkLst>
        <pc:spChg chg="mod">
          <ac:chgData name="van Leeuwen  Sara (VPPL)" userId="7a5f1df4-0dd0-4c9e-a72f-a035cf318af6" providerId="ADAL" clId="{7439252B-60B4-40D9-9D9B-2AD9ED49787B}" dt="2023-11-17T14:16:44.070" v="2648" actId="948"/>
          <ac:spMkLst>
            <pc:docMk/>
            <pc:sldMk cId="1765676676" sldId="2448"/>
            <ac:spMk id="2" creationId="{C2543CB6-7CCE-4092-94E2-1F9AF86C92CD}"/>
          </ac:spMkLst>
        </pc:spChg>
        <pc:spChg chg="mod">
          <ac:chgData name="van Leeuwen  Sara (VPPL)" userId="7a5f1df4-0dd0-4c9e-a72f-a035cf318af6" providerId="ADAL" clId="{7439252B-60B4-40D9-9D9B-2AD9ED49787B}" dt="2023-11-22T13:16:06.177" v="4625" actId="20577"/>
          <ac:spMkLst>
            <pc:docMk/>
            <pc:sldMk cId="1765676676" sldId="2448"/>
            <ac:spMk id="3" creationId="{E9BBD3EE-C606-408E-8853-A8E4F45E02CE}"/>
          </ac:spMkLst>
        </pc:spChg>
        <pc:spChg chg="mod">
          <ac:chgData name="van Leeuwen  Sara (VPPL)" userId="7a5f1df4-0dd0-4c9e-a72f-a035cf318af6" providerId="ADAL" clId="{7439252B-60B4-40D9-9D9B-2AD9ED49787B}" dt="2023-11-17T14:16:21.069" v="503" actId="947"/>
          <ac:spMkLst>
            <pc:docMk/>
            <pc:sldMk cId="1765676676" sldId="2448"/>
            <ac:spMk id="4" creationId="{5E02C3D0-A359-4178-9EFD-2A2F1CCA3032}"/>
          </ac:spMkLst>
        </pc:spChg>
        <pc:spChg chg="mod">
          <ac:chgData name="van Leeuwen  Sara (VPPL)" userId="7a5f1df4-0dd0-4c9e-a72f-a035cf318af6" providerId="ADAL" clId="{7439252B-60B4-40D9-9D9B-2AD9ED49787B}" dt="2023-11-17T14:16:21.069" v="505" actId="947"/>
          <ac:spMkLst>
            <pc:docMk/>
            <pc:sldMk cId="1765676676" sldId="2448"/>
            <ac:spMk id="5" creationId="{0DF16D9C-E39F-48C7-B71A-BE99D6CB0F36}"/>
          </ac:spMkLst>
        </pc:spChg>
        <pc:spChg chg="mod">
          <ac:chgData name="van Leeuwen  Sara (VPPL)" userId="7a5f1df4-0dd0-4c9e-a72f-a035cf318af6" providerId="ADAL" clId="{7439252B-60B4-40D9-9D9B-2AD9ED49787B}" dt="2023-11-17T14:16:21.069" v="507" actId="947"/>
          <ac:spMkLst>
            <pc:docMk/>
            <pc:sldMk cId="1765676676" sldId="2448"/>
            <ac:spMk id="6" creationId="{9D80BE71-A9EF-4DB5-8695-34039A31964C}"/>
          </ac:spMkLst>
        </pc:spChg>
        <pc:spChg chg="mod">
          <ac:chgData name="van Leeuwen  Sara (VPPL)" userId="7a5f1df4-0dd0-4c9e-a72f-a035cf318af6" providerId="ADAL" clId="{7439252B-60B4-40D9-9D9B-2AD9ED49787B}" dt="2023-11-17T14:16:21.069" v="509" actId="947"/>
          <ac:spMkLst>
            <pc:docMk/>
            <pc:sldMk cId="1765676676" sldId="2448"/>
            <ac:spMk id="7" creationId="{E00086F2-3B9A-4050-BCCD-632B815B626F}"/>
          </ac:spMkLst>
        </pc:spChg>
        <pc:spChg chg="del mod modVis">
          <ac:chgData name="van Leeuwen  Sara (VPPL)" userId="7a5f1df4-0dd0-4c9e-a72f-a035cf318af6" providerId="ADAL" clId="{7439252B-60B4-40D9-9D9B-2AD9ED49787B}" dt="2023-11-17T14:16:23.489" v="2589" actId="478"/>
          <ac:spMkLst>
            <pc:docMk/>
            <pc:sldMk cId="1765676676" sldId="2448"/>
            <ac:spMk id="8" creationId="{7AC16364-11DB-2C53-0C41-D835CC0A7FE0}"/>
          </ac:spMkLst>
        </pc:spChg>
        <pc:spChg chg="add del mod modVis">
          <ac:chgData name="van Leeuwen  Sara (VPPL)" userId="7a5f1df4-0dd0-4c9e-a72f-a035cf318af6" providerId="ADAL" clId="{7439252B-60B4-40D9-9D9B-2AD9ED49787B}" dt="2023-11-17T14:16:44.086" v="2671"/>
          <ac:spMkLst>
            <pc:docMk/>
            <pc:sldMk cId="1765676676" sldId="2448"/>
            <ac:spMk id="10" creationId="{5E52212F-99EA-3557-A49C-A23BCEDC1AE5}"/>
          </ac:spMkLst>
        </pc:spChg>
        <pc:graphicFrameChg chg="mod">
          <ac:chgData name="van Leeuwen  Sara (VPPL)" userId="7a5f1df4-0dd0-4c9e-a72f-a035cf318af6" providerId="ADAL" clId="{7439252B-60B4-40D9-9D9B-2AD9ED49787B}" dt="2023-11-17T14:16:44.086" v="2673"/>
          <ac:graphicFrameMkLst>
            <pc:docMk/>
            <pc:sldMk cId="1765676676" sldId="2448"/>
            <ac:graphicFrameMk id="9" creationId="{5FC14056-3291-216C-B428-AFA1A2516319}"/>
          </ac:graphicFrameMkLst>
        </pc:graphicFrameChg>
      </pc:sldChg>
      <pc:sldChg chg="modSp add mod">
        <pc:chgData name="van Leeuwen  Sara (VPPL)" userId="7a5f1df4-0dd0-4c9e-a72f-a035cf318af6" providerId="ADAL" clId="{7439252B-60B4-40D9-9D9B-2AD9ED49787B}" dt="2023-11-21T14:08:03.983" v="3841"/>
        <pc:sldMkLst>
          <pc:docMk/>
          <pc:sldMk cId="633499436" sldId="2449"/>
        </pc:sldMkLst>
        <pc:spChg chg="mod">
          <ac:chgData name="van Leeuwen  Sara (VPPL)" userId="7a5f1df4-0dd0-4c9e-a72f-a035cf318af6" providerId="ADAL" clId="{7439252B-60B4-40D9-9D9B-2AD9ED49787B}" dt="2023-11-21T14:08:03.983" v="3837" actId="948"/>
          <ac:spMkLst>
            <pc:docMk/>
            <pc:sldMk cId="633499436" sldId="2449"/>
            <ac:spMk id="2" creationId="{00000000-0000-0000-0000-000000000000}"/>
          </ac:spMkLst>
        </pc:spChg>
        <pc:graphicFrameChg chg="mod">
          <ac:chgData name="van Leeuwen  Sara (VPPL)" userId="7a5f1df4-0dd0-4c9e-a72f-a035cf318af6" providerId="ADAL" clId="{7439252B-60B4-40D9-9D9B-2AD9ED49787B}" dt="2023-11-21T14:08:03.983" v="3841"/>
          <ac:graphicFrameMkLst>
            <pc:docMk/>
            <pc:sldMk cId="633499436" sldId="2449"/>
            <ac:graphicFrameMk id="5" creationId="{4EFD790E-C509-15F3-A548-0254A67D74B6}"/>
          </ac:graphicFrameMkLst>
        </pc:graphicFrameChg>
        <pc:graphicFrameChg chg="modGraphic">
          <ac:chgData name="van Leeuwen  Sara (VPPL)" userId="7a5f1df4-0dd0-4c9e-a72f-a035cf318af6" providerId="ADAL" clId="{7439252B-60B4-40D9-9D9B-2AD9ED49787B}" dt="2023-11-21T13:27:53.441" v="3439" actId="207"/>
          <ac:graphicFrameMkLst>
            <pc:docMk/>
            <pc:sldMk cId="633499436" sldId="2449"/>
            <ac:graphicFrameMk id="10" creationId="{9B7E8B9D-5F9A-4F11-B14F-FECAB6CF2579}"/>
          </ac:graphicFrameMkLst>
        </pc:graphicFrameChg>
      </pc:sldChg>
      <pc:sldChg chg="modSp add del mod">
        <pc:chgData name="van Leeuwen  Sara (VPPL)" userId="7a5f1df4-0dd0-4c9e-a72f-a035cf318af6" providerId="ADAL" clId="{7439252B-60B4-40D9-9D9B-2AD9ED49787B}" dt="2023-11-17T14:07:22.175" v="193" actId="47"/>
        <pc:sldMkLst>
          <pc:docMk/>
          <pc:sldMk cId="3409899433" sldId="2449"/>
        </pc:sldMkLst>
        <pc:spChg chg="mod">
          <ac:chgData name="van Leeuwen  Sara (VPPL)" userId="7a5f1df4-0dd0-4c9e-a72f-a035cf318af6" providerId="ADAL" clId="{7439252B-60B4-40D9-9D9B-2AD9ED49787B}" dt="2023-11-17T14:06:56.757" v="192" actId="5793"/>
          <ac:spMkLst>
            <pc:docMk/>
            <pc:sldMk cId="3409899433" sldId="2449"/>
            <ac:spMk id="9" creationId="{0E2807F2-D9BD-433B-B6EF-CF115AF7F215}"/>
          </ac:spMkLst>
        </pc:spChg>
      </pc:sldChg>
      <pc:sldChg chg="add del">
        <pc:chgData name="van Leeuwen  Sara (VPPL)" userId="7a5f1df4-0dd0-4c9e-a72f-a035cf318af6" providerId="ADAL" clId="{7439252B-60B4-40D9-9D9B-2AD9ED49787B}" dt="2023-11-21T13:28:09.319" v="3442"/>
        <pc:sldMkLst>
          <pc:docMk/>
          <pc:sldMk cId="222044962" sldId="2450"/>
        </pc:sldMkLst>
      </pc:sldChg>
      <pc:sldChg chg="modSp add mod">
        <pc:chgData name="van Leeuwen  Sara (VPPL)" userId="7a5f1df4-0dd0-4c9e-a72f-a035cf318af6" providerId="ADAL" clId="{7439252B-60B4-40D9-9D9B-2AD9ED49787B}" dt="2023-11-21T14:08:08.091" v="3847"/>
        <pc:sldMkLst>
          <pc:docMk/>
          <pc:sldMk cId="1868801872" sldId="2450"/>
        </pc:sldMkLst>
        <pc:spChg chg="mod">
          <ac:chgData name="van Leeuwen  Sara (VPPL)" userId="7a5f1df4-0dd0-4c9e-a72f-a035cf318af6" providerId="ADAL" clId="{7439252B-60B4-40D9-9D9B-2AD9ED49787B}" dt="2023-11-21T14:08:08.091" v="3843" actId="948"/>
          <ac:spMkLst>
            <pc:docMk/>
            <pc:sldMk cId="1868801872" sldId="2450"/>
            <ac:spMk id="2" creationId="{00000000-0000-0000-0000-000000000000}"/>
          </ac:spMkLst>
        </pc:spChg>
        <pc:graphicFrameChg chg="mod">
          <ac:chgData name="van Leeuwen  Sara (VPPL)" userId="7a5f1df4-0dd0-4c9e-a72f-a035cf318af6" providerId="ADAL" clId="{7439252B-60B4-40D9-9D9B-2AD9ED49787B}" dt="2023-11-21T14:08:08.091" v="3847"/>
          <ac:graphicFrameMkLst>
            <pc:docMk/>
            <pc:sldMk cId="1868801872" sldId="2450"/>
            <ac:graphicFrameMk id="5" creationId="{4EFD790E-C509-15F3-A548-0254A67D74B6}"/>
          </ac:graphicFrameMkLst>
        </pc:graphicFrameChg>
        <pc:graphicFrameChg chg="modGraphic">
          <ac:chgData name="van Leeuwen  Sara (VPPL)" userId="7a5f1df4-0dd0-4c9e-a72f-a035cf318af6" providerId="ADAL" clId="{7439252B-60B4-40D9-9D9B-2AD9ED49787B}" dt="2023-11-21T13:29:53.125" v="3448" actId="207"/>
          <ac:graphicFrameMkLst>
            <pc:docMk/>
            <pc:sldMk cId="1868801872" sldId="2450"/>
            <ac:graphicFrameMk id="10" creationId="{9B7E8B9D-5F9A-4F11-B14F-FECAB6CF2579}"/>
          </ac:graphicFrameMkLst>
        </pc:graphicFrameChg>
      </pc:sldChg>
      <pc:sldChg chg="modSp add mod">
        <pc:chgData name="van Leeuwen  Sara (VPPL)" userId="7a5f1df4-0dd0-4c9e-a72f-a035cf318af6" providerId="ADAL" clId="{7439252B-60B4-40D9-9D9B-2AD9ED49787B}" dt="2023-11-21T14:08:12.320" v="3853"/>
        <pc:sldMkLst>
          <pc:docMk/>
          <pc:sldMk cId="1195792100" sldId="2451"/>
        </pc:sldMkLst>
        <pc:spChg chg="mod">
          <ac:chgData name="van Leeuwen  Sara (VPPL)" userId="7a5f1df4-0dd0-4c9e-a72f-a035cf318af6" providerId="ADAL" clId="{7439252B-60B4-40D9-9D9B-2AD9ED49787B}" dt="2023-11-21T14:08:12.320" v="3849" actId="948"/>
          <ac:spMkLst>
            <pc:docMk/>
            <pc:sldMk cId="1195792100" sldId="2451"/>
            <ac:spMk id="2" creationId="{00000000-0000-0000-0000-000000000000}"/>
          </ac:spMkLst>
        </pc:spChg>
        <pc:graphicFrameChg chg="mod">
          <ac:chgData name="van Leeuwen  Sara (VPPL)" userId="7a5f1df4-0dd0-4c9e-a72f-a035cf318af6" providerId="ADAL" clId="{7439252B-60B4-40D9-9D9B-2AD9ED49787B}" dt="2023-11-21T14:08:12.320" v="3853"/>
          <ac:graphicFrameMkLst>
            <pc:docMk/>
            <pc:sldMk cId="1195792100" sldId="2451"/>
            <ac:graphicFrameMk id="5" creationId="{4EFD790E-C509-15F3-A548-0254A67D74B6}"/>
          </ac:graphicFrameMkLst>
        </pc:graphicFrameChg>
        <pc:graphicFrameChg chg="modGraphic">
          <ac:chgData name="van Leeuwen  Sara (VPPL)" userId="7a5f1df4-0dd0-4c9e-a72f-a035cf318af6" providerId="ADAL" clId="{7439252B-60B4-40D9-9D9B-2AD9ED49787B}" dt="2023-11-21T13:30:04.403" v="3451" actId="207"/>
          <ac:graphicFrameMkLst>
            <pc:docMk/>
            <pc:sldMk cId="1195792100" sldId="2451"/>
            <ac:graphicFrameMk id="10" creationId="{9B7E8B9D-5F9A-4F11-B14F-FECAB6CF2579}"/>
          </ac:graphicFrameMkLst>
        </pc:graphicFrameChg>
      </pc:sldChg>
      <pc:sldChg chg="modSp add mod">
        <pc:chgData name="van Leeuwen  Sara (VPPL)" userId="7a5f1df4-0dd0-4c9e-a72f-a035cf318af6" providerId="ADAL" clId="{7439252B-60B4-40D9-9D9B-2AD9ED49787B}" dt="2023-11-21T14:08:17.537" v="3859"/>
        <pc:sldMkLst>
          <pc:docMk/>
          <pc:sldMk cId="2084412014" sldId="2452"/>
        </pc:sldMkLst>
        <pc:spChg chg="mod">
          <ac:chgData name="van Leeuwen  Sara (VPPL)" userId="7a5f1df4-0dd0-4c9e-a72f-a035cf318af6" providerId="ADAL" clId="{7439252B-60B4-40D9-9D9B-2AD9ED49787B}" dt="2023-11-21T14:08:17.537" v="3855" actId="948"/>
          <ac:spMkLst>
            <pc:docMk/>
            <pc:sldMk cId="2084412014" sldId="2452"/>
            <ac:spMk id="2" creationId="{00000000-0000-0000-0000-000000000000}"/>
          </ac:spMkLst>
        </pc:spChg>
        <pc:graphicFrameChg chg="mod">
          <ac:chgData name="van Leeuwen  Sara (VPPL)" userId="7a5f1df4-0dd0-4c9e-a72f-a035cf318af6" providerId="ADAL" clId="{7439252B-60B4-40D9-9D9B-2AD9ED49787B}" dt="2023-11-21T14:08:17.537" v="3859"/>
          <ac:graphicFrameMkLst>
            <pc:docMk/>
            <pc:sldMk cId="2084412014" sldId="2452"/>
            <ac:graphicFrameMk id="5" creationId="{4EFD790E-C509-15F3-A548-0254A67D74B6}"/>
          </ac:graphicFrameMkLst>
        </pc:graphicFrameChg>
        <pc:graphicFrameChg chg="modGraphic">
          <ac:chgData name="van Leeuwen  Sara (VPPL)" userId="7a5f1df4-0dd0-4c9e-a72f-a035cf318af6" providerId="ADAL" clId="{7439252B-60B4-40D9-9D9B-2AD9ED49787B}" dt="2023-11-21T13:30:15.872" v="3454" actId="207"/>
          <ac:graphicFrameMkLst>
            <pc:docMk/>
            <pc:sldMk cId="2084412014" sldId="2452"/>
            <ac:graphicFrameMk id="10" creationId="{9B7E8B9D-5F9A-4F11-B14F-FECAB6CF2579}"/>
          </ac:graphicFrameMkLst>
        </pc:graphicFrameChg>
      </pc:sldChg>
      <pc:sldChg chg="modSp add mod">
        <pc:chgData name="van Leeuwen  Sara (VPPL)" userId="7a5f1df4-0dd0-4c9e-a72f-a035cf318af6" providerId="ADAL" clId="{7439252B-60B4-40D9-9D9B-2AD9ED49787B}" dt="2023-11-21T14:08:20.793" v="3865"/>
        <pc:sldMkLst>
          <pc:docMk/>
          <pc:sldMk cId="3215193308" sldId="2453"/>
        </pc:sldMkLst>
        <pc:spChg chg="mod">
          <ac:chgData name="van Leeuwen  Sara (VPPL)" userId="7a5f1df4-0dd0-4c9e-a72f-a035cf318af6" providerId="ADAL" clId="{7439252B-60B4-40D9-9D9B-2AD9ED49787B}" dt="2023-11-21T14:08:20.793" v="3861" actId="948"/>
          <ac:spMkLst>
            <pc:docMk/>
            <pc:sldMk cId="3215193308" sldId="2453"/>
            <ac:spMk id="2" creationId="{00000000-0000-0000-0000-000000000000}"/>
          </ac:spMkLst>
        </pc:spChg>
        <pc:graphicFrameChg chg="mod">
          <ac:chgData name="van Leeuwen  Sara (VPPL)" userId="7a5f1df4-0dd0-4c9e-a72f-a035cf318af6" providerId="ADAL" clId="{7439252B-60B4-40D9-9D9B-2AD9ED49787B}" dt="2023-11-21T14:08:20.793" v="3865"/>
          <ac:graphicFrameMkLst>
            <pc:docMk/>
            <pc:sldMk cId="3215193308" sldId="2453"/>
            <ac:graphicFrameMk id="5" creationId="{4EFD790E-C509-15F3-A548-0254A67D74B6}"/>
          </ac:graphicFrameMkLst>
        </pc:graphicFrameChg>
        <pc:graphicFrameChg chg="modGraphic">
          <ac:chgData name="van Leeuwen  Sara (VPPL)" userId="7a5f1df4-0dd0-4c9e-a72f-a035cf318af6" providerId="ADAL" clId="{7439252B-60B4-40D9-9D9B-2AD9ED49787B}" dt="2023-11-21T13:30:27.549" v="3457" actId="207"/>
          <ac:graphicFrameMkLst>
            <pc:docMk/>
            <pc:sldMk cId="3215193308" sldId="2453"/>
            <ac:graphicFrameMk id="10" creationId="{9B7E8B9D-5F9A-4F11-B14F-FECAB6CF2579}"/>
          </ac:graphicFrameMkLst>
        </pc:graphicFrameChg>
      </pc:sldChg>
      <pc:sldChg chg="modSp add mod">
        <pc:chgData name="van Leeuwen  Sara (VPPL)" userId="7a5f1df4-0dd0-4c9e-a72f-a035cf318af6" providerId="ADAL" clId="{7439252B-60B4-40D9-9D9B-2AD9ED49787B}" dt="2023-11-21T14:27:18.842" v="3939" actId="5793"/>
        <pc:sldMkLst>
          <pc:docMk/>
          <pc:sldMk cId="1107928105" sldId="2454"/>
        </pc:sldMkLst>
        <pc:spChg chg="mod">
          <ac:chgData name="van Leeuwen  Sara (VPPL)" userId="7a5f1df4-0dd0-4c9e-a72f-a035cf318af6" providerId="ADAL" clId="{7439252B-60B4-40D9-9D9B-2AD9ED49787B}" dt="2023-11-21T14:27:18.842" v="3939" actId="5793"/>
          <ac:spMkLst>
            <pc:docMk/>
            <pc:sldMk cId="1107928105" sldId="2454"/>
            <ac:spMk id="9" creationId="{0E2807F2-D9BD-433B-B6EF-CF115AF7F215}"/>
          </ac:spMkLst>
        </pc:spChg>
      </pc:sldChg>
      <pc:sldMasterChg chg="delSp modSp mod modSldLayout">
        <pc:chgData name="van Leeuwen  Sara (VPPL)" userId="7a5f1df4-0dd0-4c9e-a72f-a035cf318af6" providerId="ADAL" clId="{7439252B-60B4-40D9-9D9B-2AD9ED49787B}" dt="2023-11-17T14:16:23.489" v="2584" actId="1076"/>
        <pc:sldMasterMkLst>
          <pc:docMk/>
          <pc:sldMasterMk cId="409606273" sldId="2147483648"/>
        </pc:sldMasterMkLst>
        <pc:spChg chg="mod">
          <ac:chgData name="van Leeuwen  Sara (VPPL)" userId="7a5f1df4-0dd0-4c9e-a72f-a035cf318af6" providerId="ADAL" clId="{7439252B-60B4-40D9-9D9B-2AD9ED49787B}" dt="2023-11-17T14:16:22.782" v="1841" actId="948"/>
          <ac:spMkLst>
            <pc:docMk/>
            <pc:sldMasterMk cId="409606273" sldId="2147483648"/>
            <ac:spMk id="2" creationId="{29CEF804-E58C-481B-A606-7D35AF68FF55}"/>
          </ac:spMkLst>
        </pc:spChg>
        <pc:spChg chg="mod">
          <ac:chgData name="van Leeuwen  Sara (VPPL)" userId="7a5f1df4-0dd0-4c9e-a72f-a035cf318af6" providerId="ADAL" clId="{7439252B-60B4-40D9-9D9B-2AD9ED49787B}" dt="2023-11-17T14:16:20.880" v="420" actId="790"/>
          <ac:spMkLst>
            <pc:docMk/>
            <pc:sldMasterMk cId="409606273" sldId="2147483648"/>
            <ac:spMk id="3" creationId="{65C6EC0D-393C-42F2-B6A7-B19C9B098F2D}"/>
          </ac:spMkLst>
        </pc:spChg>
        <pc:spChg chg="mod">
          <ac:chgData name="van Leeuwen  Sara (VPPL)" userId="7a5f1df4-0dd0-4c9e-a72f-a035cf318af6" providerId="ADAL" clId="{7439252B-60B4-40D9-9D9B-2AD9ED49787B}" dt="2023-11-17T14:16:20.880" v="421" actId="790"/>
          <ac:spMkLst>
            <pc:docMk/>
            <pc:sldMasterMk cId="409606273" sldId="2147483648"/>
            <ac:spMk id="4" creationId="{37C96E51-36C9-4BEE-A761-33378A0DF03D}"/>
          </ac:spMkLst>
        </pc:spChg>
        <pc:spChg chg="mod">
          <ac:chgData name="van Leeuwen  Sara (VPPL)" userId="7a5f1df4-0dd0-4c9e-a72f-a035cf318af6" providerId="ADAL" clId="{7439252B-60B4-40D9-9D9B-2AD9ED49787B}" dt="2023-11-17T14:16:20.880" v="422" actId="790"/>
          <ac:spMkLst>
            <pc:docMk/>
            <pc:sldMasterMk cId="409606273" sldId="2147483648"/>
            <ac:spMk id="5" creationId="{411EC403-6E63-4450-AFDD-66CA49D6CCBE}"/>
          </ac:spMkLst>
        </pc:spChg>
        <pc:spChg chg="mod">
          <ac:chgData name="van Leeuwen  Sara (VPPL)" userId="7a5f1df4-0dd0-4c9e-a72f-a035cf318af6" providerId="ADAL" clId="{7439252B-60B4-40D9-9D9B-2AD9ED49787B}" dt="2023-11-17T14:16:20.880" v="423" actId="790"/>
          <ac:spMkLst>
            <pc:docMk/>
            <pc:sldMasterMk cId="409606273" sldId="2147483648"/>
            <ac:spMk id="6" creationId="{7FDFCC57-7DDC-4B2C-A6BE-862DAF9C9F11}"/>
          </ac:spMkLst>
        </pc:spChg>
        <pc:spChg chg="del mod modVis">
          <ac:chgData name="van Leeuwen  Sara (VPPL)" userId="7a5f1df4-0dd0-4c9e-a72f-a035cf318af6" providerId="ADAL" clId="{7439252B-60B4-40D9-9D9B-2AD9ED49787B}" dt="2023-11-17T14:16:23.458" v="2567" actId="478"/>
          <ac:spMkLst>
            <pc:docMk/>
            <pc:sldMasterMk cId="409606273" sldId="2147483648"/>
            <ac:spMk id="7" creationId="{6B70F58A-25FA-B41C-E6DC-6626145D9E27}"/>
          </ac:spMkLst>
        </pc:spChg>
        <pc:graphicFrameChg chg="mod">
          <ac:chgData name="van Leeuwen  Sara (VPPL)" userId="7a5f1df4-0dd0-4c9e-a72f-a035cf318af6" providerId="ADAL" clId="{7439252B-60B4-40D9-9D9B-2AD9ED49787B}" dt="2023-11-17T14:16:23.458" v="2568" actId="1076"/>
          <ac:graphicFrameMkLst>
            <pc:docMk/>
            <pc:sldMasterMk cId="409606273" sldId="2147483648"/>
            <ac:graphicFrameMk id="8" creationId="{6F709FE4-B19A-40E5-B994-8FBD3E2929F5}"/>
          </ac:graphicFrameMkLst>
        </pc:graphicFrameChg>
        <pc:sldLayoutChg chg="delSp modSp mod">
          <pc:chgData name="van Leeuwen  Sara (VPPL)" userId="7a5f1df4-0dd0-4c9e-a72f-a035cf318af6" providerId="ADAL" clId="{7439252B-60B4-40D9-9D9B-2AD9ED49787B}" dt="2023-11-17T14:16:23.473" v="2572" actId="1076"/>
          <pc:sldLayoutMkLst>
            <pc:docMk/>
            <pc:sldMasterMk cId="409606273" sldId="2147483648"/>
            <pc:sldLayoutMk cId="4293381049" sldId="2147483649"/>
          </pc:sldLayoutMkLst>
          <pc:spChg chg="mod">
            <ac:chgData name="van Leeuwen  Sara (VPPL)" userId="7a5f1df4-0dd0-4c9e-a72f-a035cf318af6" providerId="ADAL" clId="{7439252B-60B4-40D9-9D9B-2AD9ED49787B}" dt="2023-11-17T14:16:22.816" v="1877" actId="948"/>
            <ac:spMkLst>
              <pc:docMk/>
              <pc:sldMasterMk cId="409606273" sldId="2147483648"/>
              <pc:sldLayoutMk cId="4293381049" sldId="2147483649"/>
              <ac:spMk id="2" creationId="{3491294E-BEE7-4DA8-BBC8-88E1A7B07AEF}"/>
            </ac:spMkLst>
          </pc:spChg>
          <pc:spChg chg="del mod modVis">
            <ac:chgData name="van Leeuwen  Sara (VPPL)" userId="7a5f1df4-0dd0-4c9e-a72f-a035cf318af6" providerId="ADAL" clId="{7439252B-60B4-40D9-9D9B-2AD9ED49787B}" dt="2023-11-17T14:16:23.473" v="2571" actId="478"/>
            <ac:spMkLst>
              <pc:docMk/>
              <pc:sldMasterMk cId="409606273" sldId="2147483648"/>
              <pc:sldLayoutMk cId="4293381049" sldId="2147483649"/>
              <ac:spMk id="3" creationId="{F985F83D-2FB5-725A-85CD-5EEAB1E3BFE5}"/>
            </ac:spMkLst>
          </pc:spChg>
          <pc:spChg chg="mod">
            <ac:chgData name="van Leeuwen  Sara (VPPL)" userId="7a5f1df4-0dd0-4c9e-a72f-a035cf318af6" providerId="ADAL" clId="{7439252B-60B4-40D9-9D9B-2AD9ED49787B}" dt="2023-11-17T14:16:20.914" v="432" actId="790"/>
            <ac:spMkLst>
              <pc:docMk/>
              <pc:sldMasterMk cId="409606273" sldId="2147483648"/>
              <pc:sldLayoutMk cId="4293381049" sldId="2147483649"/>
              <ac:spMk id="4" creationId="{EE41BE31-9613-4103-99FF-7DCFF643B329}"/>
            </ac:spMkLst>
          </pc:spChg>
          <pc:spChg chg="mod">
            <ac:chgData name="van Leeuwen  Sara (VPPL)" userId="7a5f1df4-0dd0-4c9e-a72f-a035cf318af6" providerId="ADAL" clId="{7439252B-60B4-40D9-9D9B-2AD9ED49787B}" dt="2023-11-17T14:16:20.912" v="429" actId="790"/>
            <ac:spMkLst>
              <pc:docMk/>
              <pc:sldMasterMk cId="409606273" sldId="2147483648"/>
              <pc:sldLayoutMk cId="4293381049" sldId="2147483649"/>
              <ac:spMk id="5" creationId="{EB061823-3F7A-48C8-8477-B410C18AC1B7}"/>
            </ac:spMkLst>
          </pc:spChg>
          <pc:spChg chg="mod">
            <ac:chgData name="van Leeuwen  Sara (VPPL)" userId="7a5f1df4-0dd0-4c9e-a72f-a035cf318af6" providerId="ADAL" clId="{7439252B-60B4-40D9-9D9B-2AD9ED49787B}" dt="2023-11-17T14:16:20.914" v="433" actId="790"/>
            <ac:spMkLst>
              <pc:docMk/>
              <pc:sldMasterMk cId="409606273" sldId="2147483648"/>
              <pc:sldLayoutMk cId="4293381049" sldId="2147483649"/>
              <ac:spMk id="6" creationId="{EDEB298C-798E-4D73-9DD6-F896C06530C1}"/>
            </ac:spMkLst>
          </pc:spChg>
          <pc:spChg chg="mod">
            <ac:chgData name="van Leeuwen  Sara (VPPL)" userId="7a5f1df4-0dd0-4c9e-a72f-a035cf318af6" providerId="ADAL" clId="{7439252B-60B4-40D9-9D9B-2AD9ED49787B}" dt="2023-11-17T14:16:20.914" v="431" actId="790"/>
            <ac:spMkLst>
              <pc:docMk/>
              <pc:sldMasterMk cId="409606273" sldId="2147483648"/>
              <pc:sldLayoutMk cId="4293381049" sldId="2147483649"/>
              <ac:spMk id="9" creationId="{C3C296D1-2CD0-479F-A866-6EC741D2293B}"/>
            </ac:spMkLst>
          </pc:spChg>
          <pc:graphicFrameChg chg="mod">
            <ac:chgData name="van Leeuwen  Sara (VPPL)" userId="7a5f1df4-0dd0-4c9e-a72f-a035cf318af6" providerId="ADAL" clId="{7439252B-60B4-40D9-9D9B-2AD9ED49787B}" dt="2023-11-17T14:16:23.473" v="2572" actId="1076"/>
            <ac:graphicFrameMkLst>
              <pc:docMk/>
              <pc:sldMasterMk cId="409606273" sldId="2147483648"/>
              <pc:sldLayoutMk cId="4293381049" sldId="2147483649"/>
              <ac:graphicFrameMk id="7" creationId="{F54F1400-795F-A074-DA62-57F93CA534FC}"/>
            </ac:graphicFrameMkLst>
          </pc:graphicFrameChg>
        </pc:sldLayoutChg>
        <pc:sldLayoutChg chg="delSp modSp mod">
          <pc:chgData name="van Leeuwen  Sara (VPPL)" userId="7a5f1df4-0dd0-4c9e-a72f-a035cf318af6" providerId="ADAL" clId="{7439252B-60B4-40D9-9D9B-2AD9ED49787B}" dt="2023-11-17T14:16:23.427" v="2538" actId="1076"/>
          <pc:sldLayoutMkLst>
            <pc:docMk/>
            <pc:sldMasterMk cId="409606273" sldId="2147483648"/>
            <pc:sldLayoutMk cId="2221599722" sldId="2147483650"/>
          </pc:sldLayoutMkLst>
          <pc:spChg chg="mod">
            <ac:chgData name="van Leeuwen  Sara (VPPL)" userId="7a5f1df4-0dd0-4c9e-a72f-a035cf318af6" providerId="ADAL" clId="{7439252B-60B4-40D9-9D9B-2AD9ED49787B}" dt="2023-11-17T14:16:22.530" v="1589" actId="948"/>
            <ac:spMkLst>
              <pc:docMk/>
              <pc:sldMasterMk cId="409606273" sldId="2147483648"/>
              <pc:sldLayoutMk cId="2221599722" sldId="2147483650"/>
              <ac:spMk id="2" creationId="{3346F7F9-CBC8-4641-B12B-7E76FD213E12}"/>
            </ac:spMkLst>
          </pc:spChg>
          <pc:spChg chg="mod">
            <ac:chgData name="van Leeuwen  Sara (VPPL)" userId="7a5f1df4-0dd0-4c9e-a72f-a035cf318af6" providerId="ADAL" clId="{7439252B-60B4-40D9-9D9B-2AD9ED49787B}" dt="2023-11-17T14:16:20.645" v="336" actId="790"/>
            <ac:spMkLst>
              <pc:docMk/>
              <pc:sldMasterMk cId="409606273" sldId="2147483648"/>
              <pc:sldLayoutMk cId="2221599722" sldId="2147483650"/>
              <ac:spMk id="3" creationId="{87D3E2EF-5F98-49EC-BCEA-B215D49920A3}"/>
            </ac:spMkLst>
          </pc:spChg>
          <pc:spChg chg="mod">
            <ac:chgData name="van Leeuwen  Sara (VPPL)" userId="7a5f1df4-0dd0-4c9e-a72f-a035cf318af6" providerId="ADAL" clId="{7439252B-60B4-40D9-9D9B-2AD9ED49787B}" dt="2023-11-17T14:16:20.645" v="337" actId="790"/>
            <ac:spMkLst>
              <pc:docMk/>
              <pc:sldMasterMk cId="409606273" sldId="2147483648"/>
              <pc:sldLayoutMk cId="2221599722" sldId="2147483650"/>
              <ac:spMk id="4" creationId="{67DB21BA-81C0-43DB-A42C-5F672DBC37F2}"/>
            </ac:spMkLst>
          </pc:spChg>
          <pc:spChg chg="mod">
            <ac:chgData name="van Leeuwen  Sara (VPPL)" userId="7a5f1df4-0dd0-4c9e-a72f-a035cf318af6" providerId="ADAL" clId="{7439252B-60B4-40D9-9D9B-2AD9ED49787B}" dt="2023-11-17T14:16:20.661" v="338" actId="790"/>
            <ac:spMkLst>
              <pc:docMk/>
              <pc:sldMasterMk cId="409606273" sldId="2147483648"/>
              <pc:sldLayoutMk cId="2221599722" sldId="2147483650"/>
              <ac:spMk id="5" creationId="{1BC78786-28C3-4EAB-A3FC-1A4BFA8447EC}"/>
            </ac:spMkLst>
          </pc:spChg>
          <pc:spChg chg="mod">
            <ac:chgData name="van Leeuwen  Sara (VPPL)" userId="7a5f1df4-0dd0-4c9e-a72f-a035cf318af6" providerId="ADAL" clId="{7439252B-60B4-40D9-9D9B-2AD9ED49787B}" dt="2023-11-17T14:16:20.661" v="339" actId="790"/>
            <ac:spMkLst>
              <pc:docMk/>
              <pc:sldMasterMk cId="409606273" sldId="2147483648"/>
              <pc:sldLayoutMk cId="2221599722" sldId="2147483650"/>
              <ac:spMk id="6" creationId="{0FC1D5C1-A4AD-42D4-93B7-D3B71140E3A1}"/>
            </ac:spMkLst>
          </pc:spChg>
          <pc:spChg chg="del mod modVis">
            <ac:chgData name="van Leeuwen  Sara (VPPL)" userId="7a5f1df4-0dd0-4c9e-a72f-a035cf318af6" providerId="ADAL" clId="{7439252B-60B4-40D9-9D9B-2AD9ED49787B}" dt="2023-11-17T14:16:23.427" v="2537" actId="478"/>
            <ac:spMkLst>
              <pc:docMk/>
              <pc:sldMasterMk cId="409606273" sldId="2147483648"/>
              <pc:sldLayoutMk cId="2221599722" sldId="2147483650"/>
              <ac:spMk id="8" creationId="{252300C8-59E0-4D1E-7860-9E14176E48B6}"/>
            </ac:spMkLst>
          </pc:spChg>
          <pc:graphicFrameChg chg="mod">
            <ac:chgData name="van Leeuwen  Sara (VPPL)" userId="7a5f1df4-0dd0-4c9e-a72f-a035cf318af6" providerId="ADAL" clId="{7439252B-60B4-40D9-9D9B-2AD9ED49787B}" dt="2023-11-17T14:16:23.427" v="2538" actId="1076"/>
            <ac:graphicFrameMkLst>
              <pc:docMk/>
              <pc:sldMasterMk cId="409606273" sldId="2147483648"/>
              <pc:sldLayoutMk cId="2221599722" sldId="2147483650"/>
              <ac:graphicFrameMk id="9" creationId="{BF295A86-8B6C-B768-F750-85279E01609A}"/>
            </ac:graphicFrameMkLst>
          </pc:graphicFrameChg>
        </pc:sldLayoutChg>
        <pc:sldLayoutChg chg="delSp modSp mod">
          <pc:chgData name="van Leeuwen  Sara (VPPL)" userId="7a5f1df4-0dd0-4c9e-a72f-a035cf318af6" providerId="ADAL" clId="{7439252B-60B4-40D9-9D9B-2AD9ED49787B}" dt="2023-11-17T14:16:23.458" v="2570" actId="1076"/>
          <pc:sldLayoutMkLst>
            <pc:docMk/>
            <pc:sldMasterMk cId="409606273" sldId="2147483648"/>
            <pc:sldLayoutMk cId="100241141" sldId="2147483651"/>
          </pc:sldLayoutMkLst>
          <pc:spChg chg="mod">
            <ac:chgData name="van Leeuwen  Sara (VPPL)" userId="7a5f1df4-0dd0-4c9e-a72f-a035cf318af6" providerId="ADAL" clId="{7439252B-60B4-40D9-9D9B-2AD9ED49787B}" dt="2023-11-17T14:16:22.798" v="1859" actId="948"/>
            <ac:spMkLst>
              <pc:docMk/>
              <pc:sldMasterMk cId="409606273" sldId="2147483648"/>
              <pc:sldLayoutMk cId="100241141" sldId="2147483651"/>
              <ac:spMk id="2" creationId="{3491294E-BEE7-4DA8-BBC8-88E1A7B07AEF}"/>
            </ac:spMkLst>
          </pc:spChg>
          <pc:spChg chg="del mod modVis">
            <ac:chgData name="van Leeuwen  Sara (VPPL)" userId="7a5f1df4-0dd0-4c9e-a72f-a035cf318af6" providerId="ADAL" clId="{7439252B-60B4-40D9-9D9B-2AD9ED49787B}" dt="2023-11-17T14:16:23.458" v="2569" actId="478"/>
            <ac:spMkLst>
              <pc:docMk/>
              <pc:sldMasterMk cId="409606273" sldId="2147483648"/>
              <pc:sldLayoutMk cId="100241141" sldId="2147483651"/>
              <ac:spMk id="3" creationId="{DB2C2D6F-838B-B692-8CF8-ABE7CFA6B497}"/>
            </ac:spMkLst>
          </pc:spChg>
          <pc:spChg chg="mod">
            <ac:chgData name="van Leeuwen  Sara (VPPL)" userId="7a5f1df4-0dd0-4c9e-a72f-a035cf318af6" providerId="ADAL" clId="{7439252B-60B4-40D9-9D9B-2AD9ED49787B}" dt="2023-11-17T14:16:20.896" v="428" actId="790"/>
            <ac:spMkLst>
              <pc:docMk/>
              <pc:sldMasterMk cId="409606273" sldId="2147483648"/>
              <pc:sldLayoutMk cId="100241141" sldId="2147483651"/>
              <ac:spMk id="8" creationId="{547D2927-4A99-4714-8EBA-F773EAA26308}"/>
            </ac:spMkLst>
          </pc:spChg>
          <pc:spChg chg="mod">
            <ac:chgData name="van Leeuwen  Sara (VPPL)" userId="7a5f1df4-0dd0-4c9e-a72f-a035cf318af6" providerId="ADAL" clId="{7439252B-60B4-40D9-9D9B-2AD9ED49787B}" dt="2023-11-17T14:16:20.896" v="426" actId="790"/>
            <ac:spMkLst>
              <pc:docMk/>
              <pc:sldMasterMk cId="409606273" sldId="2147483648"/>
              <pc:sldLayoutMk cId="100241141" sldId="2147483651"/>
              <ac:spMk id="9" creationId="{003A487C-8977-4264-A8A1-D6C1DB604682}"/>
            </ac:spMkLst>
          </pc:spChg>
          <pc:spChg chg="mod">
            <ac:chgData name="van Leeuwen  Sara (VPPL)" userId="7a5f1df4-0dd0-4c9e-a72f-a035cf318af6" providerId="ADAL" clId="{7439252B-60B4-40D9-9D9B-2AD9ED49787B}" dt="2023-11-17T14:16:20.896" v="424" actId="790"/>
            <ac:spMkLst>
              <pc:docMk/>
              <pc:sldMasterMk cId="409606273" sldId="2147483648"/>
              <pc:sldLayoutMk cId="100241141" sldId="2147483651"/>
              <ac:spMk id="11" creationId="{8A01615F-450E-43D0-B554-DA3FBD48DF34}"/>
            </ac:spMkLst>
          </pc:spChg>
          <pc:spChg chg="mod">
            <ac:chgData name="van Leeuwen  Sara (VPPL)" userId="7a5f1df4-0dd0-4c9e-a72f-a035cf318af6" providerId="ADAL" clId="{7439252B-60B4-40D9-9D9B-2AD9ED49787B}" dt="2023-11-17T14:16:20.896" v="427" actId="790"/>
            <ac:spMkLst>
              <pc:docMk/>
              <pc:sldMasterMk cId="409606273" sldId="2147483648"/>
              <pc:sldLayoutMk cId="100241141" sldId="2147483651"/>
              <ac:spMk id="13" creationId="{E91D3734-CD8F-4F94-A813-570EF31C4732}"/>
            </ac:spMkLst>
          </pc:spChg>
          <pc:graphicFrameChg chg="mod">
            <ac:chgData name="van Leeuwen  Sara (VPPL)" userId="7a5f1df4-0dd0-4c9e-a72f-a035cf318af6" providerId="ADAL" clId="{7439252B-60B4-40D9-9D9B-2AD9ED49787B}" dt="2023-11-17T14:16:23.458" v="2570" actId="1076"/>
            <ac:graphicFrameMkLst>
              <pc:docMk/>
              <pc:sldMasterMk cId="409606273" sldId="2147483648"/>
              <pc:sldLayoutMk cId="100241141" sldId="2147483651"/>
              <ac:graphicFrameMk id="4" creationId="{9DBC9D52-5E1A-FE24-5D2D-8CE881468EDF}"/>
            </ac:graphicFrameMkLst>
          </pc:graphicFrameChg>
        </pc:sldLayoutChg>
        <pc:sldLayoutChg chg="delSp modSp mod">
          <pc:chgData name="van Leeuwen  Sara (VPPL)" userId="7a5f1df4-0dd0-4c9e-a72f-a035cf318af6" providerId="ADAL" clId="{7439252B-60B4-40D9-9D9B-2AD9ED49787B}" dt="2023-11-17T14:16:23.427" v="2532" actId="1076"/>
          <pc:sldLayoutMkLst>
            <pc:docMk/>
            <pc:sldMasterMk cId="409606273" sldId="2147483648"/>
            <pc:sldLayoutMk cId="3924069494" sldId="2147483652"/>
          </pc:sldLayoutMkLst>
          <pc:spChg chg="mod">
            <ac:chgData name="van Leeuwen  Sara (VPPL)" userId="7a5f1df4-0dd0-4c9e-a72f-a035cf318af6" providerId="ADAL" clId="{7439252B-60B4-40D9-9D9B-2AD9ED49787B}" dt="2023-11-17T14:16:22.483" v="1535" actId="948"/>
            <ac:spMkLst>
              <pc:docMk/>
              <pc:sldMasterMk cId="409606273" sldId="2147483648"/>
              <pc:sldLayoutMk cId="3924069494" sldId="2147483652"/>
              <ac:spMk id="2" creationId="{3491294E-BEE7-4DA8-BBC8-88E1A7B07AEF}"/>
            </ac:spMkLst>
          </pc:spChg>
          <pc:spChg chg="mod">
            <ac:chgData name="van Leeuwen  Sara (VPPL)" userId="7a5f1df4-0dd0-4c9e-a72f-a035cf318af6" providerId="ADAL" clId="{7439252B-60B4-40D9-9D9B-2AD9ED49787B}" dt="2023-11-17T14:16:20.614" v="321" actId="947"/>
            <ac:spMkLst>
              <pc:docMk/>
              <pc:sldMasterMk cId="409606273" sldId="2147483648"/>
              <pc:sldLayoutMk cId="3924069494" sldId="2147483652"/>
              <ac:spMk id="3" creationId="{62D94F76-218E-49F2-87F8-05982912ED18}"/>
            </ac:spMkLst>
          </pc:spChg>
          <pc:spChg chg="del mod modVis">
            <ac:chgData name="van Leeuwen  Sara (VPPL)" userId="7a5f1df4-0dd0-4c9e-a72f-a035cf318af6" providerId="ADAL" clId="{7439252B-60B4-40D9-9D9B-2AD9ED49787B}" dt="2023-11-17T14:16:23.417" v="2531" actId="478"/>
            <ac:spMkLst>
              <pc:docMk/>
              <pc:sldMasterMk cId="409606273" sldId="2147483648"/>
              <pc:sldLayoutMk cId="3924069494" sldId="2147483652"/>
              <ac:spMk id="4" creationId="{C1B318DA-6314-37B3-0A25-38AD90C371AE}"/>
            </ac:spMkLst>
          </pc:spChg>
          <pc:spChg chg="mod">
            <ac:chgData name="van Leeuwen  Sara (VPPL)" userId="7a5f1df4-0dd0-4c9e-a72f-a035cf318af6" providerId="ADAL" clId="{7439252B-60B4-40D9-9D9B-2AD9ED49787B}" dt="2023-11-17T14:16:20.614" v="323" actId="790"/>
            <ac:spMkLst>
              <pc:docMk/>
              <pc:sldMasterMk cId="409606273" sldId="2147483648"/>
              <pc:sldLayoutMk cId="3924069494" sldId="2147483652"/>
              <ac:spMk id="7" creationId="{0503E57F-F89F-431B-8D38-7CC97B7C201A}"/>
            </ac:spMkLst>
          </pc:spChg>
          <pc:spChg chg="mod">
            <ac:chgData name="van Leeuwen  Sara (VPPL)" userId="7a5f1df4-0dd0-4c9e-a72f-a035cf318af6" providerId="ADAL" clId="{7439252B-60B4-40D9-9D9B-2AD9ED49787B}" dt="2023-11-17T14:16:20.614" v="325" actId="790"/>
            <ac:spMkLst>
              <pc:docMk/>
              <pc:sldMasterMk cId="409606273" sldId="2147483648"/>
              <pc:sldLayoutMk cId="3924069494" sldId="2147483652"/>
              <ac:spMk id="8" creationId="{4ADF7DEC-21BD-45CA-9E91-B9F58A69F621}"/>
            </ac:spMkLst>
          </pc:spChg>
          <pc:spChg chg="mod">
            <ac:chgData name="van Leeuwen  Sara (VPPL)" userId="7a5f1df4-0dd0-4c9e-a72f-a035cf318af6" providerId="ADAL" clId="{7439252B-60B4-40D9-9D9B-2AD9ED49787B}" dt="2023-11-17T14:16:20.614" v="324" actId="790"/>
            <ac:spMkLst>
              <pc:docMk/>
              <pc:sldMasterMk cId="409606273" sldId="2147483648"/>
              <pc:sldLayoutMk cId="3924069494" sldId="2147483652"/>
              <ac:spMk id="12" creationId="{1BEB6197-C509-4752-B57E-CEE955F5D926}"/>
            </ac:spMkLst>
          </pc:spChg>
          <pc:graphicFrameChg chg="mod">
            <ac:chgData name="van Leeuwen  Sara (VPPL)" userId="7a5f1df4-0dd0-4c9e-a72f-a035cf318af6" providerId="ADAL" clId="{7439252B-60B4-40D9-9D9B-2AD9ED49787B}" dt="2023-11-17T14:16:23.427" v="2532" actId="1076"/>
            <ac:graphicFrameMkLst>
              <pc:docMk/>
              <pc:sldMasterMk cId="409606273" sldId="2147483648"/>
              <pc:sldLayoutMk cId="3924069494" sldId="2147483652"/>
              <ac:graphicFrameMk id="5" creationId="{E4ACFB11-02C2-93C8-0231-17EB5B054693}"/>
            </ac:graphicFrameMkLst>
          </pc:graphicFrameChg>
        </pc:sldLayoutChg>
        <pc:sldLayoutChg chg="delSp modSp mod">
          <pc:chgData name="van Leeuwen  Sara (VPPL)" userId="7a5f1df4-0dd0-4c9e-a72f-a035cf318af6" providerId="ADAL" clId="{7439252B-60B4-40D9-9D9B-2AD9ED49787B}" dt="2023-11-17T14:16:23.427" v="2534" actId="1076"/>
          <pc:sldLayoutMkLst>
            <pc:docMk/>
            <pc:sldMasterMk cId="409606273" sldId="2147483648"/>
            <pc:sldLayoutMk cId="732532068" sldId="2147483653"/>
          </pc:sldLayoutMkLst>
          <pc:spChg chg="mod">
            <ac:chgData name="van Leeuwen  Sara (VPPL)" userId="7a5f1df4-0dd0-4c9e-a72f-a035cf318af6" providerId="ADAL" clId="{7439252B-60B4-40D9-9D9B-2AD9ED49787B}" dt="2023-11-17T14:16:22.498" v="1553" actId="948"/>
            <ac:spMkLst>
              <pc:docMk/>
              <pc:sldMasterMk cId="409606273" sldId="2147483648"/>
              <pc:sldLayoutMk cId="732532068" sldId="2147483653"/>
              <ac:spMk id="2" creationId="{3491294E-BEE7-4DA8-BBC8-88E1A7B07AEF}"/>
            </ac:spMkLst>
          </pc:spChg>
          <pc:spChg chg="del mod modVis">
            <ac:chgData name="van Leeuwen  Sara (VPPL)" userId="7a5f1df4-0dd0-4c9e-a72f-a035cf318af6" providerId="ADAL" clId="{7439252B-60B4-40D9-9D9B-2AD9ED49787B}" dt="2023-11-17T14:16:23.427" v="2533" actId="478"/>
            <ac:spMkLst>
              <pc:docMk/>
              <pc:sldMasterMk cId="409606273" sldId="2147483648"/>
              <pc:sldLayoutMk cId="732532068" sldId="2147483653"/>
              <ac:spMk id="3" creationId="{11043070-242E-E03E-BB19-7EEEF6730B6C}"/>
            </ac:spMkLst>
          </pc:spChg>
          <pc:spChg chg="mod">
            <ac:chgData name="van Leeuwen  Sara (VPPL)" userId="7a5f1df4-0dd0-4c9e-a72f-a035cf318af6" providerId="ADAL" clId="{7439252B-60B4-40D9-9D9B-2AD9ED49787B}" dt="2023-11-17T14:16:20.629" v="327" actId="790"/>
            <ac:spMkLst>
              <pc:docMk/>
              <pc:sldMasterMk cId="409606273" sldId="2147483648"/>
              <pc:sldLayoutMk cId="732532068" sldId="2147483653"/>
              <ac:spMk id="6" creationId="{5FCAD79B-EF47-46A0-9575-229F3DAA72F5}"/>
            </ac:spMkLst>
          </pc:spChg>
          <pc:spChg chg="mod">
            <ac:chgData name="van Leeuwen  Sara (VPPL)" userId="7a5f1df4-0dd0-4c9e-a72f-a035cf318af6" providerId="ADAL" clId="{7439252B-60B4-40D9-9D9B-2AD9ED49787B}" dt="2023-11-17T14:16:20.629" v="329" actId="790"/>
            <ac:spMkLst>
              <pc:docMk/>
              <pc:sldMasterMk cId="409606273" sldId="2147483648"/>
              <pc:sldLayoutMk cId="732532068" sldId="2147483653"/>
              <ac:spMk id="7" creationId="{789A3267-E086-4EC3-A0BB-F8ECD01A5C7E}"/>
            </ac:spMkLst>
          </pc:spChg>
          <pc:spChg chg="mod">
            <ac:chgData name="van Leeuwen  Sara (VPPL)" userId="7a5f1df4-0dd0-4c9e-a72f-a035cf318af6" providerId="ADAL" clId="{7439252B-60B4-40D9-9D9B-2AD9ED49787B}" dt="2023-11-17T14:16:20.629" v="328" actId="790"/>
            <ac:spMkLst>
              <pc:docMk/>
              <pc:sldMasterMk cId="409606273" sldId="2147483648"/>
              <pc:sldLayoutMk cId="732532068" sldId="2147483653"/>
              <ac:spMk id="8" creationId="{72236FC6-C8FF-43C1-86B9-BF112345926F}"/>
            </ac:spMkLst>
          </pc:spChg>
          <pc:graphicFrameChg chg="mod">
            <ac:chgData name="van Leeuwen  Sara (VPPL)" userId="7a5f1df4-0dd0-4c9e-a72f-a035cf318af6" providerId="ADAL" clId="{7439252B-60B4-40D9-9D9B-2AD9ED49787B}" dt="2023-11-17T14:16:23.427" v="2534" actId="1076"/>
            <ac:graphicFrameMkLst>
              <pc:docMk/>
              <pc:sldMasterMk cId="409606273" sldId="2147483648"/>
              <pc:sldLayoutMk cId="732532068" sldId="2147483653"/>
              <ac:graphicFrameMk id="4" creationId="{DA664350-A5E5-3088-B899-6D2BE8FC1A6D}"/>
            </ac:graphicFrameMkLst>
          </pc:graphicFrameChg>
        </pc:sldLayoutChg>
        <pc:sldLayoutChg chg="delSp modSp mod">
          <pc:chgData name="van Leeuwen  Sara (VPPL)" userId="7a5f1df4-0dd0-4c9e-a72f-a035cf318af6" providerId="ADAL" clId="{7439252B-60B4-40D9-9D9B-2AD9ED49787B}" dt="2023-11-17T14:16:23.427" v="2536" actId="1076"/>
          <pc:sldLayoutMkLst>
            <pc:docMk/>
            <pc:sldMasterMk cId="409606273" sldId="2147483648"/>
            <pc:sldLayoutMk cId="2789257521" sldId="2147483654"/>
          </pc:sldLayoutMkLst>
          <pc:spChg chg="mod">
            <ac:chgData name="van Leeuwen  Sara (VPPL)" userId="7a5f1df4-0dd0-4c9e-a72f-a035cf318af6" providerId="ADAL" clId="{7439252B-60B4-40D9-9D9B-2AD9ED49787B}" dt="2023-11-17T14:16:22.516" v="1571" actId="948"/>
            <ac:spMkLst>
              <pc:docMk/>
              <pc:sldMasterMk cId="409606273" sldId="2147483648"/>
              <pc:sldLayoutMk cId="2789257521" sldId="2147483654"/>
              <ac:spMk id="2" creationId="{3491294E-BEE7-4DA8-BBC8-88E1A7B07AEF}"/>
            </ac:spMkLst>
          </pc:spChg>
          <pc:spChg chg="del mod modVis">
            <ac:chgData name="van Leeuwen  Sara (VPPL)" userId="7a5f1df4-0dd0-4c9e-a72f-a035cf318af6" providerId="ADAL" clId="{7439252B-60B4-40D9-9D9B-2AD9ED49787B}" dt="2023-11-17T14:16:23.427" v="2535" actId="478"/>
            <ac:spMkLst>
              <pc:docMk/>
              <pc:sldMasterMk cId="409606273" sldId="2147483648"/>
              <pc:sldLayoutMk cId="2789257521" sldId="2147483654"/>
              <ac:spMk id="3" creationId="{2C06900C-C8B1-ED2F-C9C8-C6ECE4A58BEF}"/>
            </ac:spMkLst>
          </pc:spChg>
          <pc:spChg chg="mod">
            <ac:chgData name="van Leeuwen  Sara (VPPL)" userId="7a5f1df4-0dd0-4c9e-a72f-a035cf318af6" providerId="ADAL" clId="{7439252B-60B4-40D9-9D9B-2AD9ED49787B}" dt="2023-11-17T14:16:20.629" v="330" actId="790"/>
            <ac:spMkLst>
              <pc:docMk/>
              <pc:sldMasterMk cId="409606273" sldId="2147483648"/>
              <pc:sldLayoutMk cId="2789257521" sldId="2147483654"/>
              <ac:spMk id="5" creationId="{EB061823-3F7A-48C8-8477-B410C18AC1B7}"/>
            </ac:spMkLst>
          </pc:spChg>
          <pc:spChg chg="mod">
            <ac:chgData name="van Leeuwen  Sara (VPPL)" userId="7a5f1df4-0dd0-4c9e-a72f-a035cf318af6" providerId="ADAL" clId="{7439252B-60B4-40D9-9D9B-2AD9ED49787B}" dt="2023-11-17T14:16:20.629" v="332" actId="790"/>
            <ac:spMkLst>
              <pc:docMk/>
              <pc:sldMasterMk cId="409606273" sldId="2147483648"/>
              <pc:sldLayoutMk cId="2789257521" sldId="2147483654"/>
              <ac:spMk id="7" creationId="{D364BCB8-820F-4C3A-BA37-7048A4C8D4C3}"/>
            </ac:spMkLst>
          </pc:spChg>
          <pc:spChg chg="mod">
            <ac:chgData name="van Leeuwen  Sara (VPPL)" userId="7a5f1df4-0dd0-4c9e-a72f-a035cf318af6" providerId="ADAL" clId="{7439252B-60B4-40D9-9D9B-2AD9ED49787B}" dt="2023-11-17T14:16:20.645" v="334" actId="790"/>
            <ac:spMkLst>
              <pc:docMk/>
              <pc:sldMasterMk cId="409606273" sldId="2147483648"/>
              <pc:sldLayoutMk cId="2789257521" sldId="2147483654"/>
              <ac:spMk id="9" creationId="{791A1AD7-DB7D-4C75-BEFB-EB6D34D3B2AB}"/>
            </ac:spMkLst>
          </pc:spChg>
          <pc:spChg chg="mod">
            <ac:chgData name="van Leeuwen  Sara (VPPL)" userId="7a5f1df4-0dd0-4c9e-a72f-a035cf318af6" providerId="ADAL" clId="{7439252B-60B4-40D9-9D9B-2AD9ED49787B}" dt="2023-11-17T14:16:20.645" v="333" actId="790"/>
            <ac:spMkLst>
              <pc:docMk/>
              <pc:sldMasterMk cId="409606273" sldId="2147483648"/>
              <pc:sldLayoutMk cId="2789257521" sldId="2147483654"/>
              <ac:spMk id="11" creationId="{A73913C2-8DFE-4F15-B2DB-2A6D5C267009}"/>
            </ac:spMkLst>
          </pc:spChg>
          <pc:graphicFrameChg chg="mod">
            <ac:chgData name="van Leeuwen  Sara (VPPL)" userId="7a5f1df4-0dd0-4c9e-a72f-a035cf318af6" providerId="ADAL" clId="{7439252B-60B4-40D9-9D9B-2AD9ED49787B}" dt="2023-11-17T14:16:23.427" v="2536" actId="1076"/>
            <ac:graphicFrameMkLst>
              <pc:docMk/>
              <pc:sldMasterMk cId="409606273" sldId="2147483648"/>
              <pc:sldLayoutMk cId="2789257521" sldId="2147483654"/>
              <ac:graphicFrameMk id="6" creationId="{127070BA-5062-3B68-0BB4-A6D0457D1CD7}"/>
            </ac:graphicFrameMkLst>
          </pc:graphicFrameChg>
        </pc:sldLayoutChg>
        <pc:sldLayoutChg chg="delSp modSp mod">
          <pc:chgData name="van Leeuwen  Sara (VPPL)" userId="7a5f1df4-0dd0-4c9e-a72f-a035cf318af6" providerId="ADAL" clId="{7439252B-60B4-40D9-9D9B-2AD9ED49787B}" dt="2023-11-17T14:16:23.427" v="2540" actId="1076"/>
          <pc:sldLayoutMkLst>
            <pc:docMk/>
            <pc:sldMasterMk cId="409606273" sldId="2147483648"/>
            <pc:sldLayoutMk cId="1888753134" sldId="2147483655"/>
          </pc:sldLayoutMkLst>
          <pc:spChg chg="mod">
            <ac:chgData name="van Leeuwen  Sara (VPPL)" userId="7a5f1df4-0dd0-4c9e-a72f-a035cf318af6" providerId="ADAL" clId="{7439252B-60B4-40D9-9D9B-2AD9ED49787B}" dt="2023-11-17T14:16:22.561" v="1607" actId="948"/>
            <ac:spMkLst>
              <pc:docMk/>
              <pc:sldMasterMk cId="409606273" sldId="2147483648"/>
              <pc:sldLayoutMk cId="1888753134" sldId="2147483655"/>
              <ac:spMk id="2" creationId="{3346F7F9-CBC8-4641-B12B-7E76FD213E12}"/>
            </ac:spMkLst>
          </pc:spChg>
          <pc:spChg chg="mod">
            <ac:chgData name="van Leeuwen  Sara (VPPL)" userId="7a5f1df4-0dd0-4c9e-a72f-a035cf318af6" providerId="ADAL" clId="{7439252B-60B4-40D9-9D9B-2AD9ED49787B}" dt="2023-11-17T14:16:20.661" v="341" actId="790"/>
            <ac:spMkLst>
              <pc:docMk/>
              <pc:sldMasterMk cId="409606273" sldId="2147483648"/>
              <pc:sldLayoutMk cId="1888753134" sldId="2147483655"/>
              <ac:spMk id="3" creationId="{87D3E2EF-5F98-49EC-BCEA-B215D49920A3}"/>
            </ac:spMkLst>
          </pc:spChg>
          <pc:spChg chg="mod">
            <ac:chgData name="van Leeuwen  Sara (VPPL)" userId="7a5f1df4-0dd0-4c9e-a72f-a035cf318af6" providerId="ADAL" clId="{7439252B-60B4-40D9-9D9B-2AD9ED49787B}" dt="2023-11-17T14:16:20.661" v="342" actId="790"/>
            <ac:spMkLst>
              <pc:docMk/>
              <pc:sldMasterMk cId="409606273" sldId="2147483648"/>
              <pc:sldLayoutMk cId="1888753134" sldId="2147483655"/>
              <ac:spMk id="4" creationId="{67DB21BA-81C0-43DB-A42C-5F672DBC37F2}"/>
            </ac:spMkLst>
          </pc:spChg>
          <pc:spChg chg="mod">
            <ac:chgData name="van Leeuwen  Sara (VPPL)" userId="7a5f1df4-0dd0-4c9e-a72f-a035cf318af6" providerId="ADAL" clId="{7439252B-60B4-40D9-9D9B-2AD9ED49787B}" dt="2023-11-17T14:16:20.676" v="343" actId="790"/>
            <ac:spMkLst>
              <pc:docMk/>
              <pc:sldMasterMk cId="409606273" sldId="2147483648"/>
              <pc:sldLayoutMk cId="1888753134" sldId="2147483655"/>
              <ac:spMk id="5" creationId="{1BC78786-28C3-4EAB-A3FC-1A4BFA8447EC}"/>
            </ac:spMkLst>
          </pc:spChg>
          <pc:spChg chg="mod">
            <ac:chgData name="van Leeuwen  Sara (VPPL)" userId="7a5f1df4-0dd0-4c9e-a72f-a035cf318af6" providerId="ADAL" clId="{7439252B-60B4-40D9-9D9B-2AD9ED49787B}" dt="2023-11-17T14:16:20.676" v="344" actId="790"/>
            <ac:spMkLst>
              <pc:docMk/>
              <pc:sldMasterMk cId="409606273" sldId="2147483648"/>
              <pc:sldLayoutMk cId="1888753134" sldId="2147483655"/>
              <ac:spMk id="6" creationId="{0FC1D5C1-A4AD-42D4-93B7-D3B71140E3A1}"/>
            </ac:spMkLst>
          </pc:spChg>
          <pc:spChg chg="del mod modVis">
            <ac:chgData name="van Leeuwen  Sara (VPPL)" userId="7a5f1df4-0dd0-4c9e-a72f-a035cf318af6" providerId="ADAL" clId="{7439252B-60B4-40D9-9D9B-2AD9ED49787B}" dt="2023-11-17T14:16:23.427" v="2539" actId="478"/>
            <ac:spMkLst>
              <pc:docMk/>
              <pc:sldMasterMk cId="409606273" sldId="2147483648"/>
              <pc:sldLayoutMk cId="1888753134" sldId="2147483655"/>
              <ac:spMk id="8" creationId="{26EFC825-D026-8EC9-B558-419A1E3458D2}"/>
            </ac:spMkLst>
          </pc:spChg>
          <pc:graphicFrameChg chg="mod">
            <ac:chgData name="van Leeuwen  Sara (VPPL)" userId="7a5f1df4-0dd0-4c9e-a72f-a035cf318af6" providerId="ADAL" clId="{7439252B-60B4-40D9-9D9B-2AD9ED49787B}" dt="2023-11-17T14:16:23.427" v="2540" actId="1076"/>
            <ac:graphicFrameMkLst>
              <pc:docMk/>
              <pc:sldMasterMk cId="409606273" sldId="2147483648"/>
              <pc:sldLayoutMk cId="1888753134" sldId="2147483655"/>
              <ac:graphicFrameMk id="9" creationId="{57277A93-F3FF-5C0A-2A20-3CB97AE794AF}"/>
            </ac:graphicFrameMkLst>
          </pc:graphicFrameChg>
        </pc:sldLayoutChg>
        <pc:sldLayoutChg chg="delSp modSp mod">
          <pc:chgData name="van Leeuwen  Sara (VPPL)" userId="7a5f1df4-0dd0-4c9e-a72f-a035cf318af6" providerId="ADAL" clId="{7439252B-60B4-40D9-9D9B-2AD9ED49787B}" dt="2023-11-17T14:16:23.427" v="2542" actId="1076"/>
          <pc:sldLayoutMkLst>
            <pc:docMk/>
            <pc:sldMasterMk cId="409606273" sldId="2147483648"/>
            <pc:sldLayoutMk cId="426001722" sldId="2147483656"/>
          </pc:sldLayoutMkLst>
          <pc:spChg chg="mod">
            <ac:chgData name="van Leeuwen  Sara (VPPL)" userId="7a5f1df4-0dd0-4c9e-a72f-a035cf318af6" providerId="ADAL" clId="{7439252B-60B4-40D9-9D9B-2AD9ED49787B}" dt="2023-11-17T14:16:22.577" v="1625" actId="948"/>
            <ac:spMkLst>
              <pc:docMk/>
              <pc:sldMasterMk cId="409606273" sldId="2147483648"/>
              <pc:sldLayoutMk cId="426001722" sldId="2147483656"/>
              <ac:spMk id="2" creationId="{3346F7F9-CBC8-4641-B12B-7E76FD213E12}"/>
            </ac:spMkLst>
          </pc:spChg>
          <pc:spChg chg="mod">
            <ac:chgData name="van Leeuwen  Sara (VPPL)" userId="7a5f1df4-0dd0-4c9e-a72f-a035cf318af6" providerId="ADAL" clId="{7439252B-60B4-40D9-9D9B-2AD9ED49787B}" dt="2023-11-17T14:16:20.676" v="346" actId="790"/>
            <ac:spMkLst>
              <pc:docMk/>
              <pc:sldMasterMk cId="409606273" sldId="2147483648"/>
              <pc:sldLayoutMk cId="426001722" sldId="2147483656"/>
              <ac:spMk id="3" creationId="{87D3E2EF-5F98-49EC-BCEA-B215D49920A3}"/>
            </ac:spMkLst>
          </pc:spChg>
          <pc:spChg chg="mod">
            <ac:chgData name="van Leeuwen  Sara (VPPL)" userId="7a5f1df4-0dd0-4c9e-a72f-a035cf318af6" providerId="ADAL" clId="{7439252B-60B4-40D9-9D9B-2AD9ED49787B}" dt="2023-11-17T14:16:20.676" v="347" actId="790"/>
            <ac:spMkLst>
              <pc:docMk/>
              <pc:sldMasterMk cId="409606273" sldId="2147483648"/>
              <pc:sldLayoutMk cId="426001722" sldId="2147483656"/>
              <ac:spMk id="4" creationId="{67DB21BA-81C0-43DB-A42C-5F672DBC37F2}"/>
            </ac:spMkLst>
          </pc:spChg>
          <pc:spChg chg="mod">
            <ac:chgData name="van Leeuwen  Sara (VPPL)" userId="7a5f1df4-0dd0-4c9e-a72f-a035cf318af6" providerId="ADAL" clId="{7439252B-60B4-40D9-9D9B-2AD9ED49787B}" dt="2023-11-17T14:16:20.692" v="348" actId="790"/>
            <ac:spMkLst>
              <pc:docMk/>
              <pc:sldMasterMk cId="409606273" sldId="2147483648"/>
              <pc:sldLayoutMk cId="426001722" sldId="2147483656"/>
              <ac:spMk id="5" creationId="{1BC78786-28C3-4EAB-A3FC-1A4BFA8447EC}"/>
            </ac:spMkLst>
          </pc:spChg>
          <pc:spChg chg="mod">
            <ac:chgData name="van Leeuwen  Sara (VPPL)" userId="7a5f1df4-0dd0-4c9e-a72f-a035cf318af6" providerId="ADAL" clId="{7439252B-60B4-40D9-9D9B-2AD9ED49787B}" dt="2023-11-17T14:16:20.692" v="349" actId="790"/>
            <ac:spMkLst>
              <pc:docMk/>
              <pc:sldMasterMk cId="409606273" sldId="2147483648"/>
              <pc:sldLayoutMk cId="426001722" sldId="2147483656"/>
              <ac:spMk id="6" creationId="{0FC1D5C1-A4AD-42D4-93B7-D3B71140E3A1}"/>
            </ac:spMkLst>
          </pc:spChg>
          <pc:spChg chg="del mod modVis">
            <ac:chgData name="van Leeuwen  Sara (VPPL)" userId="7a5f1df4-0dd0-4c9e-a72f-a035cf318af6" providerId="ADAL" clId="{7439252B-60B4-40D9-9D9B-2AD9ED49787B}" dt="2023-11-17T14:16:23.427" v="2541" actId="478"/>
            <ac:spMkLst>
              <pc:docMk/>
              <pc:sldMasterMk cId="409606273" sldId="2147483648"/>
              <pc:sldLayoutMk cId="426001722" sldId="2147483656"/>
              <ac:spMk id="8" creationId="{85019CEC-0EF0-1763-8720-B2BF9D7A2791}"/>
            </ac:spMkLst>
          </pc:spChg>
          <pc:spChg chg="mod">
            <ac:chgData name="van Leeuwen  Sara (VPPL)" userId="7a5f1df4-0dd0-4c9e-a72f-a035cf318af6" providerId="ADAL" clId="{7439252B-60B4-40D9-9D9B-2AD9ED49787B}" dt="2023-11-17T14:16:20.692" v="350" actId="790"/>
            <ac:spMkLst>
              <pc:docMk/>
              <pc:sldMasterMk cId="409606273" sldId="2147483648"/>
              <pc:sldLayoutMk cId="426001722" sldId="2147483656"/>
              <ac:spMk id="11" creationId="{2F6D94FA-21C6-4AE0-AA4F-3A077810ED93}"/>
            </ac:spMkLst>
          </pc:spChg>
          <pc:graphicFrameChg chg="mod">
            <ac:chgData name="van Leeuwen  Sara (VPPL)" userId="7a5f1df4-0dd0-4c9e-a72f-a035cf318af6" providerId="ADAL" clId="{7439252B-60B4-40D9-9D9B-2AD9ED49787B}" dt="2023-11-17T14:16:23.427" v="2542" actId="1076"/>
            <ac:graphicFrameMkLst>
              <pc:docMk/>
              <pc:sldMasterMk cId="409606273" sldId="2147483648"/>
              <pc:sldLayoutMk cId="426001722" sldId="2147483656"/>
              <ac:graphicFrameMk id="9" creationId="{15BB064A-2F5C-25EC-EA57-1B922278268E}"/>
            </ac:graphicFrameMkLst>
          </pc:graphicFrameChg>
        </pc:sldLayoutChg>
        <pc:sldLayoutChg chg="delSp modSp mod">
          <pc:chgData name="van Leeuwen  Sara (VPPL)" userId="7a5f1df4-0dd0-4c9e-a72f-a035cf318af6" providerId="ADAL" clId="{7439252B-60B4-40D9-9D9B-2AD9ED49787B}" dt="2023-11-17T14:16:23.417" v="2530" actId="1076"/>
          <pc:sldLayoutMkLst>
            <pc:docMk/>
            <pc:sldMasterMk cId="409606273" sldId="2147483648"/>
            <pc:sldLayoutMk cId="3716835328" sldId="2147483657"/>
          </pc:sldLayoutMkLst>
          <pc:spChg chg="mod">
            <ac:chgData name="van Leeuwen  Sara (VPPL)" userId="7a5f1df4-0dd0-4c9e-a72f-a035cf318af6" providerId="ADAL" clId="{7439252B-60B4-40D9-9D9B-2AD9ED49787B}" dt="2023-11-17T14:16:22.467" v="1517" actId="948"/>
            <ac:spMkLst>
              <pc:docMk/>
              <pc:sldMasterMk cId="409606273" sldId="2147483648"/>
              <pc:sldLayoutMk cId="3716835328" sldId="2147483657"/>
              <ac:spMk id="2" creationId="{3346F7F9-CBC8-4641-B12B-7E76FD213E12}"/>
            </ac:spMkLst>
          </pc:spChg>
          <pc:spChg chg="del mod modVis">
            <ac:chgData name="van Leeuwen  Sara (VPPL)" userId="7a5f1df4-0dd0-4c9e-a72f-a035cf318af6" providerId="ADAL" clId="{7439252B-60B4-40D9-9D9B-2AD9ED49787B}" dt="2023-11-17T14:16:23.417" v="2529" actId="478"/>
            <ac:spMkLst>
              <pc:docMk/>
              <pc:sldMasterMk cId="409606273" sldId="2147483648"/>
              <pc:sldLayoutMk cId="3716835328" sldId="2147483657"/>
              <ac:spMk id="3" creationId="{097D1309-896F-5DB2-1674-96E99150F429}"/>
            </ac:spMkLst>
          </pc:spChg>
          <pc:spChg chg="mod">
            <ac:chgData name="van Leeuwen  Sara (VPPL)" userId="7a5f1df4-0dd0-4c9e-a72f-a035cf318af6" providerId="ADAL" clId="{7439252B-60B4-40D9-9D9B-2AD9ED49787B}" dt="2023-11-17T14:16:20.582" v="297" actId="790"/>
            <ac:spMkLst>
              <pc:docMk/>
              <pc:sldMasterMk cId="409606273" sldId="2147483648"/>
              <pc:sldLayoutMk cId="3716835328" sldId="2147483657"/>
              <ac:spMk id="4" creationId="{67DB21BA-81C0-43DB-A42C-5F672DBC37F2}"/>
            </ac:spMkLst>
          </pc:spChg>
          <pc:spChg chg="mod">
            <ac:chgData name="van Leeuwen  Sara (VPPL)" userId="7a5f1df4-0dd0-4c9e-a72f-a035cf318af6" providerId="ADAL" clId="{7439252B-60B4-40D9-9D9B-2AD9ED49787B}" dt="2023-11-17T14:16:20.582" v="298" actId="790"/>
            <ac:spMkLst>
              <pc:docMk/>
              <pc:sldMasterMk cId="409606273" sldId="2147483648"/>
              <pc:sldLayoutMk cId="3716835328" sldId="2147483657"/>
              <ac:spMk id="5" creationId="{1BC78786-28C3-4EAB-A3FC-1A4BFA8447EC}"/>
            </ac:spMkLst>
          </pc:spChg>
          <pc:spChg chg="mod">
            <ac:chgData name="van Leeuwen  Sara (VPPL)" userId="7a5f1df4-0dd0-4c9e-a72f-a035cf318af6" providerId="ADAL" clId="{7439252B-60B4-40D9-9D9B-2AD9ED49787B}" dt="2023-11-17T14:16:20.582" v="299" actId="790"/>
            <ac:spMkLst>
              <pc:docMk/>
              <pc:sldMasterMk cId="409606273" sldId="2147483648"/>
              <pc:sldLayoutMk cId="3716835328" sldId="2147483657"/>
              <ac:spMk id="6" creationId="{0FC1D5C1-A4AD-42D4-93B7-D3B71140E3A1}"/>
            </ac:spMkLst>
          </pc:spChg>
          <pc:spChg chg="mod">
            <ac:chgData name="van Leeuwen  Sara (VPPL)" userId="7a5f1df4-0dd0-4c9e-a72f-a035cf318af6" providerId="ADAL" clId="{7439252B-60B4-40D9-9D9B-2AD9ED49787B}" dt="2023-11-17T14:16:20.598" v="319" actId="947"/>
            <ac:spMkLst>
              <pc:docMk/>
              <pc:sldMasterMk cId="409606273" sldId="2147483648"/>
              <pc:sldLayoutMk cId="3716835328" sldId="2147483657"/>
              <ac:spMk id="13" creationId="{18BB0752-F87C-44D9-A9A5-97AF1DEDA1AE}"/>
            </ac:spMkLst>
          </pc:spChg>
          <pc:spChg chg="mod">
            <ac:chgData name="van Leeuwen  Sara (VPPL)" userId="7a5f1df4-0dd0-4c9e-a72f-a035cf318af6" providerId="ADAL" clId="{7439252B-60B4-40D9-9D9B-2AD9ED49787B}" dt="2023-11-17T14:16:20.598" v="317" actId="947"/>
            <ac:spMkLst>
              <pc:docMk/>
              <pc:sldMasterMk cId="409606273" sldId="2147483648"/>
              <pc:sldLayoutMk cId="3716835328" sldId="2147483657"/>
              <ac:spMk id="14" creationId="{ED44DE23-7081-4AC9-BF06-502BEC71C004}"/>
            </ac:spMkLst>
          </pc:spChg>
          <pc:spChg chg="mod">
            <ac:chgData name="van Leeuwen  Sara (VPPL)" userId="7a5f1df4-0dd0-4c9e-a72f-a035cf318af6" providerId="ADAL" clId="{7439252B-60B4-40D9-9D9B-2AD9ED49787B}" dt="2023-11-17T14:16:20.598" v="315" actId="947"/>
            <ac:spMkLst>
              <pc:docMk/>
              <pc:sldMasterMk cId="409606273" sldId="2147483648"/>
              <pc:sldLayoutMk cId="3716835328" sldId="2147483657"/>
              <ac:spMk id="15" creationId="{18C24FD2-AEE2-43CA-8EB3-8E646C2E5E46}"/>
            </ac:spMkLst>
          </pc:spChg>
          <pc:spChg chg="mod">
            <ac:chgData name="van Leeuwen  Sara (VPPL)" userId="7a5f1df4-0dd0-4c9e-a72f-a035cf318af6" providerId="ADAL" clId="{7439252B-60B4-40D9-9D9B-2AD9ED49787B}" dt="2023-11-17T14:16:20.598" v="313" actId="947"/>
            <ac:spMkLst>
              <pc:docMk/>
              <pc:sldMasterMk cId="409606273" sldId="2147483648"/>
              <pc:sldLayoutMk cId="3716835328" sldId="2147483657"/>
              <ac:spMk id="16" creationId="{AEE7F6F4-4D2C-45B3-A061-9606B2BD36A7}"/>
            </ac:spMkLst>
          </pc:spChg>
          <pc:spChg chg="mod">
            <ac:chgData name="van Leeuwen  Sara (VPPL)" userId="7a5f1df4-0dd0-4c9e-a72f-a035cf318af6" providerId="ADAL" clId="{7439252B-60B4-40D9-9D9B-2AD9ED49787B}" dt="2023-11-17T14:16:20.598" v="311" actId="947"/>
            <ac:spMkLst>
              <pc:docMk/>
              <pc:sldMasterMk cId="409606273" sldId="2147483648"/>
              <pc:sldLayoutMk cId="3716835328" sldId="2147483657"/>
              <ac:spMk id="18" creationId="{B2186F78-5D28-4695-8B1C-5A3F1A53AAB3}"/>
            </ac:spMkLst>
          </pc:spChg>
          <pc:spChg chg="mod">
            <ac:chgData name="van Leeuwen  Sara (VPPL)" userId="7a5f1df4-0dd0-4c9e-a72f-a035cf318af6" providerId="ADAL" clId="{7439252B-60B4-40D9-9D9B-2AD9ED49787B}" dt="2023-11-17T14:16:20.598" v="309" actId="947"/>
            <ac:spMkLst>
              <pc:docMk/>
              <pc:sldMasterMk cId="409606273" sldId="2147483648"/>
              <pc:sldLayoutMk cId="3716835328" sldId="2147483657"/>
              <ac:spMk id="19" creationId="{1FE5475E-83C3-4BE3-BBF1-FAE9A6986B3F}"/>
            </ac:spMkLst>
          </pc:spChg>
          <pc:spChg chg="mod">
            <ac:chgData name="van Leeuwen  Sara (VPPL)" userId="7a5f1df4-0dd0-4c9e-a72f-a035cf318af6" providerId="ADAL" clId="{7439252B-60B4-40D9-9D9B-2AD9ED49787B}" dt="2023-11-17T14:16:20.598" v="307" actId="947"/>
            <ac:spMkLst>
              <pc:docMk/>
              <pc:sldMasterMk cId="409606273" sldId="2147483648"/>
              <pc:sldLayoutMk cId="3716835328" sldId="2147483657"/>
              <ac:spMk id="20" creationId="{41B77B6E-E7CB-412B-95AC-A9322C6799BB}"/>
            </ac:spMkLst>
          </pc:spChg>
          <pc:spChg chg="mod">
            <ac:chgData name="van Leeuwen  Sara (VPPL)" userId="7a5f1df4-0dd0-4c9e-a72f-a035cf318af6" providerId="ADAL" clId="{7439252B-60B4-40D9-9D9B-2AD9ED49787B}" dt="2023-11-17T14:16:20.598" v="305" actId="947"/>
            <ac:spMkLst>
              <pc:docMk/>
              <pc:sldMasterMk cId="409606273" sldId="2147483648"/>
              <pc:sldLayoutMk cId="3716835328" sldId="2147483657"/>
              <ac:spMk id="21" creationId="{832E5C1A-13CE-49A6-B590-B6EAA5F9E1AD}"/>
            </ac:spMkLst>
          </pc:spChg>
          <pc:spChg chg="mod">
            <ac:chgData name="van Leeuwen  Sara (VPPL)" userId="7a5f1df4-0dd0-4c9e-a72f-a035cf318af6" providerId="ADAL" clId="{7439252B-60B4-40D9-9D9B-2AD9ED49787B}" dt="2023-11-17T14:16:20.598" v="303" actId="947"/>
            <ac:spMkLst>
              <pc:docMk/>
              <pc:sldMasterMk cId="409606273" sldId="2147483648"/>
              <pc:sldLayoutMk cId="3716835328" sldId="2147483657"/>
              <ac:spMk id="22" creationId="{63AE00B0-780F-4053-8FE9-B7D321217AFF}"/>
            </ac:spMkLst>
          </pc:spChg>
          <pc:spChg chg="mod">
            <ac:chgData name="van Leeuwen  Sara (VPPL)" userId="7a5f1df4-0dd0-4c9e-a72f-a035cf318af6" providerId="ADAL" clId="{7439252B-60B4-40D9-9D9B-2AD9ED49787B}" dt="2023-11-17T14:16:20.598" v="301" actId="947"/>
            <ac:spMkLst>
              <pc:docMk/>
              <pc:sldMasterMk cId="409606273" sldId="2147483648"/>
              <pc:sldLayoutMk cId="3716835328" sldId="2147483657"/>
              <ac:spMk id="23" creationId="{2406CEAF-7399-4CCB-A322-03F0BA2532F5}"/>
            </ac:spMkLst>
          </pc:spChg>
          <pc:graphicFrameChg chg="mod">
            <ac:chgData name="van Leeuwen  Sara (VPPL)" userId="7a5f1df4-0dd0-4c9e-a72f-a035cf318af6" providerId="ADAL" clId="{7439252B-60B4-40D9-9D9B-2AD9ED49787B}" dt="2023-11-17T14:16:23.417" v="2530" actId="1076"/>
            <ac:graphicFrameMkLst>
              <pc:docMk/>
              <pc:sldMasterMk cId="409606273" sldId="2147483648"/>
              <pc:sldLayoutMk cId="3716835328" sldId="2147483657"/>
              <ac:graphicFrameMk id="7" creationId="{CC007B98-B8E7-5D06-BE36-389E1CC53E37}"/>
            </ac:graphicFrameMkLst>
          </pc:graphicFrameChg>
        </pc:sldLayoutChg>
        <pc:sldLayoutChg chg="delSp modSp mod">
          <pc:chgData name="van Leeuwen  Sara (VPPL)" userId="7a5f1df4-0dd0-4c9e-a72f-a035cf318af6" providerId="ADAL" clId="{7439252B-60B4-40D9-9D9B-2AD9ED49787B}" dt="2023-11-17T14:16:23.417" v="2528" actId="1076"/>
          <pc:sldLayoutMkLst>
            <pc:docMk/>
            <pc:sldMasterMk cId="409606273" sldId="2147483648"/>
            <pc:sldLayoutMk cId="943852122" sldId="2147483658"/>
          </pc:sldLayoutMkLst>
          <pc:spChg chg="mod">
            <ac:chgData name="van Leeuwen  Sara (VPPL)" userId="7a5f1df4-0dd0-4c9e-a72f-a035cf318af6" providerId="ADAL" clId="{7439252B-60B4-40D9-9D9B-2AD9ED49787B}" dt="2023-11-17T14:16:22.452" v="1499" actId="948"/>
            <ac:spMkLst>
              <pc:docMk/>
              <pc:sldMasterMk cId="409606273" sldId="2147483648"/>
              <pc:sldLayoutMk cId="943852122" sldId="2147483658"/>
              <ac:spMk id="2" creationId="{3346F7F9-CBC8-4641-B12B-7E76FD213E12}"/>
            </ac:spMkLst>
          </pc:spChg>
          <pc:spChg chg="del mod modVis">
            <ac:chgData name="van Leeuwen  Sara (VPPL)" userId="7a5f1df4-0dd0-4c9e-a72f-a035cf318af6" providerId="ADAL" clId="{7439252B-60B4-40D9-9D9B-2AD9ED49787B}" dt="2023-11-17T14:16:23.417" v="2527" actId="478"/>
            <ac:spMkLst>
              <pc:docMk/>
              <pc:sldMasterMk cId="409606273" sldId="2147483648"/>
              <pc:sldLayoutMk cId="943852122" sldId="2147483658"/>
              <ac:spMk id="3" creationId="{C4B76141-3E11-0993-A021-0C0567AD50BB}"/>
            </ac:spMkLst>
          </pc:spChg>
          <pc:spChg chg="mod">
            <ac:chgData name="van Leeuwen  Sara (VPPL)" userId="7a5f1df4-0dd0-4c9e-a72f-a035cf318af6" providerId="ADAL" clId="{7439252B-60B4-40D9-9D9B-2AD9ED49787B}" dt="2023-11-17T14:16:20.567" v="292" actId="790"/>
            <ac:spMkLst>
              <pc:docMk/>
              <pc:sldMasterMk cId="409606273" sldId="2147483648"/>
              <pc:sldLayoutMk cId="943852122" sldId="2147483658"/>
              <ac:spMk id="4" creationId="{67DB21BA-81C0-43DB-A42C-5F672DBC37F2}"/>
            </ac:spMkLst>
          </pc:spChg>
          <pc:spChg chg="mod">
            <ac:chgData name="van Leeuwen  Sara (VPPL)" userId="7a5f1df4-0dd0-4c9e-a72f-a035cf318af6" providerId="ADAL" clId="{7439252B-60B4-40D9-9D9B-2AD9ED49787B}" dt="2023-11-17T14:16:20.567" v="293" actId="790"/>
            <ac:spMkLst>
              <pc:docMk/>
              <pc:sldMasterMk cId="409606273" sldId="2147483648"/>
              <pc:sldLayoutMk cId="943852122" sldId="2147483658"/>
              <ac:spMk id="5" creationId="{1BC78786-28C3-4EAB-A3FC-1A4BFA8447EC}"/>
            </ac:spMkLst>
          </pc:spChg>
          <pc:spChg chg="mod">
            <ac:chgData name="van Leeuwen  Sara (VPPL)" userId="7a5f1df4-0dd0-4c9e-a72f-a035cf318af6" providerId="ADAL" clId="{7439252B-60B4-40D9-9D9B-2AD9ED49787B}" dt="2023-11-17T14:16:20.582" v="294" actId="790"/>
            <ac:spMkLst>
              <pc:docMk/>
              <pc:sldMasterMk cId="409606273" sldId="2147483648"/>
              <pc:sldLayoutMk cId="943852122" sldId="2147483658"/>
              <ac:spMk id="6" creationId="{0FC1D5C1-A4AD-42D4-93B7-D3B71140E3A1}"/>
            </ac:spMkLst>
          </pc:spChg>
          <pc:spChg chg="mod">
            <ac:chgData name="van Leeuwen  Sara (VPPL)" userId="7a5f1df4-0dd0-4c9e-a72f-a035cf318af6" providerId="ADAL" clId="{7439252B-60B4-40D9-9D9B-2AD9ED49787B}" dt="2023-11-17T14:16:20.582" v="295" actId="790"/>
            <ac:spMkLst>
              <pc:docMk/>
              <pc:sldMasterMk cId="409606273" sldId="2147483648"/>
              <pc:sldLayoutMk cId="943852122" sldId="2147483658"/>
              <ac:spMk id="11" creationId="{05941150-30DE-48F5-9038-0E82CD18DE28}"/>
            </ac:spMkLst>
          </pc:spChg>
          <pc:graphicFrameChg chg="mod">
            <ac:chgData name="van Leeuwen  Sara (VPPL)" userId="7a5f1df4-0dd0-4c9e-a72f-a035cf318af6" providerId="ADAL" clId="{7439252B-60B4-40D9-9D9B-2AD9ED49787B}" dt="2023-11-17T14:16:23.417" v="2528" actId="1076"/>
            <ac:graphicFrameMkLst>
              <pc:docMk/>
              <pc:sldMasterMk cId="409606273" sldId="2147483648"/>
              <pc:sldLayoutMk cId="943852122" sldId="2147483658"/>
              <ac:graphicFrameMk id="8" creationId="{90FE4F96-D083-F22D-0FDA-77047DF69419}"/>
            </ac:graphicFrameMkLst>
          </pc:graphicFrameChg>
        </pc:sldLayoutChg>
        <pc:sldLayoutChg chg="modSp mod">
          <pc:chgData name="van Leeuwen  Sara (VPPL)" userId="7a5f1df4-0dd0-4c9e-a72f-a035cf318af6" providerId="ADAL" clId="{7439252B-60B4-40D9-9D9B-2AD9ED49787B}" dt="2023-11-17T14:16:23.442" v="2545" actId="1076"/>
          <pc:sldLayoutMkLst>
            <pc:docMk/>
            <pc:sldMasterMk cId="409606273" sldId="2147483648"/>
            <pc:sldLayoutMk cId="2842048334" sldId="2147483659"/>
          </pc:sldLayoutMkLst>
          <pc:spChg chg="mod">
            <ac:chgData name="van Leeuwen  Sara (VPPL)" userId="7a5f1df4-0dd0-4c9e-a72f-a035cf318af6" providerId="ADAL" clId="{7439252B-60B4-40D9-9D9B-2AD9ED49787B}" dt="2023-11-17T14:16:20.714" v="357" actId="790"/>
            <ac:spMkLst>
              <pc:docMk/>
              <pc:sldMasterMk cId="409606273" sldId="2147483648"/>
              <pc:sldLayoutMk cId="2842048334" sldId="2147483659"/>
              <ac:spMk id="4" creationId="{67DB21BA-81C0-43DB-A42C-5F672DBC37F2}"/>
            </ac:spMkLst>
          </pc:spChg>
          <pc:spChg chg="mod">
            <ac:chgData name="van Leeuwen  Sara (VPPL)" userId="7a5f1df4-0dd0-4c9e-a72f-a035cf318af6" providerId="ADAL" clId="{7439252B-60B4-40D9-9D9B-2AD9ED49787B}" dt="2023-11-17T14:16:20.714" v="358" actId="790"/>
            <ac:spMkLst>
              <pc:docMk/>
              <pc:sldMasterMk cId="409606273" sldId="2147483648"/>
              <pc:sldLayoutMk cId="2842048334" sldId="2147483659"/>
              <ac:spMk id="5" creationId="{1BC78786-28C3-4EAB-A3FC-1A4BFA8447EC}"/>
            </ac:spMkLst>
          </pc:spChg>
          <pc:spChg chg="mod">
            <ac:chgData name="van Leeuwen  Sara (VPPL)" userId="7a5f1df4-0dd0-4c9e-a72f-a035cf318af6" providerId="ADAL" clId="{7439252B-60B4-40D9-9D9B-2AD9ED49787B}" dt="2023-11-17T14:16:20.714" v="359" actId="790"/>
            <ac:spMkLst>
              <pc:docMk/>
              <pc:sldMasterMk cId="409606273" sldId="2147483648"/>
              <pc:sldLayoutMk cId="2842048334" sldId="2147483659"/>
              <ac:spMk id="6" creationId="{0FC1D5C1-A4AD-42D4-93B7-D3B71140E3A1}"/>
            </ac:spMkLst>
          </pc:spChg>
          <pc:spChg chg="mod">
            <ac:chgData name="van Leeuwen  Sara (VPPL)" userId="7a5f1df4-0dd0-4c9e-a72f-a035cf318af6" providerId="ADAL" clId="{7439252B-60B4-40D9-9D9B-2AD9ED49787B}" dt="2023-11-17T14:16:20.714" v="360" actId="790"/>
            <ac:spMkLst>
              <pc:docMk/>
              <pc:sldMasterMk cId="409606273" sldId="2147483648"/>
              <pc:sldLayoutMk cId="2842048334" sldId="2147483659"/>
              <ac:spMk id="11" creationId="{05941150-30DE-48F5-9038-0E82CD18DE28}"/>
            </ac:spMkLst>
          </pc:spChg>
          <pc:graphicFrameChg chg="mod">
            <ac:chgData name="van Leeuwen  Sara (VPPL)" userId="7a5f1df4-0dd0-4c9e-a72f-a035cf318af6" providerId="ADAL" clId="{7439252B-60B4-40D9-9D9B-2AD9ED49787B}" dt="2023-11-17T14:16:23.442" v="2545" actId="1076"/>
            <ac:graphicFrameMkLst>
              <pc:docMk/>
              <pc:sldMasterMk cId="409606273" sldId="2147483648"/>
              <pc:sldLayoutMk cId="2842048334" sldId="2147483659"/>
              <ac:graphicFrameMk id="2" creationId="{CEC49A61-509E-32FC-B506-6DE2EAF0DC90}"/>
            </ac:graphicFrameMkLst>
          </pc:graphicFrameChg>
        </pc:sldLayoutChg>
        <pc:sldLayoutChg chg="delSp modSp mod">
          <pc:chgData name="van Leeuwen  Sara (VPPL)" userId="7a5f1df4-0dd0-4c9e-a72f-a035cf318af6" providerId="ADAL" clId="{7439252B-60B4-40D9-9D9B-2AD9ED49787B}" dt="2023-11-17T14:16:23.427" v="2544" actId="1076"/>
          <pc:sldLayoutMkLst>
            <pc:docMk/>
            <pc:sldMasterMk cId="409606273" sldId="2147483648"/>
            <pc:sldLayoutMk cId="3996394784" sldId="2147483660"/>
          </pc:sldLayoutMkLst>
          <pc:spChg chg="mod">
            <ac:chgData name="van Leeuwen  Sara (VPPL)" userId="7a5f1df4-0dd0-4c9e-a72f-a035cf318af6" providerId="ADAL" clId="{7439252B-60B4-40D9-9D9B-2AD9ED49787B}" dt="2023-11-17T14:16:22.593" v="1643" actId="948"/>
            <ac:spMkLst>
              <pc:docMk/>
              <pc:sldMasterMk cId="409606273" sldId="2147483648"/>
              <pc:sldLayoutMk cId="3996394784" sldId="2147483660"/>
              <ac:spMk id="2" creationId="{3346F7F9-CBC8-4641-B12B-7E76FD213E12}"/>
            </ac:spMkLst>
          </pc:spChg>
          <pc:spChg chg="mod">
            <ac:chgData name="van Leeuwen  Sara (VPPL)" userId="7a5f1df4-0dd0-4c9e-a72f-a035cf318af6" providerId="ADAL" clId="{7439252B-60B4-40D9-9D9B-2AD9ED49787B}" dt="2023-11-17T14:16:20.692" v="352" actId="790"/>
            <ac:spMkLst>
              <pc:docMk/>
              <pc:sldMasterMk cId="409606273" sldId="2147483648"/>
              <pc:sldLayoutMk cId="3996394784" sldId="2147483660"/>
              <ac:spMk id="3" creationId="{87D3E2EF-5F98-49EC-BCEA-B215D49920A3}"/>
            </ac:spMkLst>
          </pc:spChg>
          <pc:spChg chg="mod">
            <ac:chgData name="van Leeuwen  Sara (VPPL)" userId="7a5f1df4-0dd0-4c9e-a72f-a035cf318af6" providerId="ADAL" clId="{7439252B-60B4-40D9-9D9B-2AD9ED49787B}" dt="2023-11-17T14:16:20.692" v="353" actId="790"/>
            <ac:spMkLst>
              <pc:docMk/>
              <pc:sldMasterMk cId="409606273" sldId="2147483648"/>
              <pc:sldLayoutMk cId="3996394784" sldId="2147483660"/>
              <ac:spMk id="4" creationId="{67DB21BA-81C0-43DB-A42C-5F672DBC37F2}"/>
            </ac:spMkLst>
          </pc:spChg>
          <pc:spChg chg="mod">
            <ac:chgData name="van Leeuwen  Sara (VPPL)" userId="7a5f1df4-0dd0-4c9e-a72f-a035cf318af6" providerId="ADAL" clId="{7439252B-60B4-40D9-9D9B-2AD9ED49787B}" dt="2023-11-17T14:16:20.708" v="354" actId="790"/>
            <ac:spMkLst>
              <pc:docMk/>
              <pc:sldMasterMk cId="409606273" sldId="2147483648"/>
              <pc:sldLayoutMk cId="3996394784" sldId="2147483660"/>
              <ac:spMk id="5" creationId="{1BC78786-28C3-4EAB-A3FC-1A4BFA8447EC}"/>
            </ac:spMkLst>
          </pc:spChg>
          <pc:spChg chg="mod">
            <ac:chgData name="van Leeuwen  Sara (VPPL)" userId="7a5f1df4-0dd0-4c9e-a72f-a035cf318af6" providerId="ADAL" clId="{7439252B-60B4-40D9-9D9B-2AD9ED49787B}" dt="2023-11-17T14:16:20.708" v="355" actId="790"/>
            <ac:spMkLst>
              <pc:docMk/>
              <pc:sldMasterMk cId="409606273" sldId="2147483648"/>
              <pc:sldLayoutMk cId="3996394784" sldId="2147483660"/>
              <ac:spMk id="6" creationId="{0FC1D5C1-A4AD-42D4-93B7-D3B71140E3A1}"/>
            </ac:spMkLst>
          </pc:spChg>
          <pc:spChg chg="del mod modVis">
            <ac:chgData name="van Leeuwen  Sara (VPPL)" userId="7a5f1df4-0dd0-4c9e-a72f-a035cf318af6" providerId="ADAL" clId="{7439252B-60B4-40D9-9D9B-2AD9ED49787B}" dt="2023-11-17T14:16:23.427" v="2543" actId="478"/>
            <ac:spMkLst>
              <pc:docMk/>
              <pc:sldMasterMk cId="409606273" sldId="2147483648"/>
              <pc:sldLayoutMk cId="3996394784" sldId="2147483660"/>
              <ac:spMk id="8" creationId="{C3FFA18B-27E5-8EEC-AD6A-10BB4A0EE9EC}"/>
            </ac:spMkLst>
          </pc:spChg>
          <pc:spChg chg="mod">
            <ac:chgData name="van Leeuwen  Sara (VPPL)" userId="7a5f1df4-0dd0-4c9e-a72f-a035cf318af6" providerId="ADAL" clId="{7439252B-60B4-40D9-9D9B-2AD9ED49787B}" dt="2023-11-17T14:16:20.708" v="356" actId="790"/>
            <ac:spMkLst>
              <pc:docMk/>
              <pc:sldMasterMk cId="409606273" sldId="2147483648"/>
              <pc:sldLayoutMk cId="3996394784" sldId="2147483660"/>
              <ac:spMk id="11" creationId="{221A3BAE-B19D-4390-B4A5-2C8A2CC87C59}"/>
            </ac:spMkLst>
          </pc:spChg>
          <pc:graphicFrameChg chg="mod">
            <ac:chgData name="van Leeuwen  Sara (VPPL)" userId="7a5f1df4-0dd0-4c9e-a72f-a035cf318af6" providerId="ADAL" clId="{7439252B-60B4-40D9-9D9B-2AD9ED49787B}" dt="2023-11-17T14:16:23.427" v="2544" actId="1076"/>
            <ac:graphicFrameMkLst>
              <pc:docMk/>
              <pc:sldMasterMk cId="409606273" sldId="2147483648"/>
              <pc:sldLayoutMk cId="3996394784" sldId="2147483660"/>
              <ac:graphicFrameMk id="9" creationId="{A14F9B4A-5E71-2436-C531-60297CE2AF8D}"/>
            </ac:graphicFrameMkLst>
          </pc:graphicFrameChg>
        </pc:sldLayoutChg>
        <pc:sldLayoutChg chg="delSp modSp mod">
          <pc:chgData name="van Leeuwen  Sara (VPPL)" userId="7a5f1df4-0dd0-4c9e-a72f-a035cf318af6" providerId="ADAL" clId="{7439252B-60B4-40D9-9D9B-2AD9ED49787B}" dt="2023-11-17T14:16:23.442" v="2547" actId="1076"/>
          <pc:sldLayoutMkLst>
            <pc:docMk/>
            <pc:sldMasterMk cId="409606273" sldId="2147483648"/>
            <pc:sldLayoutMk cId="1085750778" sldId="2147483661"/>
          </pc:sldLayoutMkLst>
          <pc:spChg chg="mod">
            <ac:chgData name="van Leeuwen  Sara (VPPL)" userId="7a5f1df4-0dd0-4c9e-a72f-a035cf318af6" providerId="ADAL" clId="{7439252B-60B4-40D9-9D9B-2AD9ED49787B}" dt="2023-11-17T14:16:22.608" v="1661" actId="948"/>
            <ac:spMkLst>
              <pc:docMk/>
              <pc:sldMasterMk cId="409606273" sldId="2147483648"/>
              <pc:sldLayoutMk cId="1085750778" sldId="2147483661"/>
              <ac:spMk id="2" creationId="{3346F7F9-CBC8-4641-B12B-7E76FD213E12}"/>
            </ac:spMkLst>
          </pc:spChg>
          <pc:spChg chg="mod">
            <ac:chgData name="van Leeuwen  Sara (VPPL)" userId="7a5f1df4-0dd0-4c9e-a72f-a035cf318af6" providerId="ADAL" clId="{7439252B-60B4-40D9-9D9B-2AD9ED49787B}" dt="2023-11-17T14:16:20.724" v="362" actId="790"/>
            <ac:spMkLst>
              <pc:docMk/>
              <pc:sldMasterMk cId="409606273" sldId="2147483648"/>
              <pc:sldLayoutMk cId="1085750778" sldId="2147483661"/>
              <ac:spMk id="3" creationId="{87D3E2EF-5F98-49EC-BCEA-B215D49920A3}"/>
            </ac:spMkLst>
          </pc:spChg>
          <pc:spChg chg="mod">
            <ac:chgData name="van Leeuwen  Sara (VPPL)" userId="7a5f1df4-0dd0-4c9e-a72f-a035cf318af6" providerId="ADAL" clId="{7439252B-60B4-40D9-9D9B-2AD9ED49787B}" dt="2023-11-17T14:16:20.724" v="363" actId="790"/>
            <ac:spMkLst>
              <pc:docMk/>
              <pc:sldMasterMk cId="409606273" sldId="2147483648"/>
              <pc:sldLayoutMk cId="1085750778" sldId="2147483661"/>
              <ac:spMk id="4" creationId="{67DB21BA-81C0-43DB-A42C-5F672DBC37F2}"/>
            </ac:spMkLst>
          </pc:spChg>
          <pc:spChg chg="mod">
            <ac:chgData name="van Leeuwen  Sara (VPPL)" userId="7a5f1df4-0dd0-4c9e-a72f-a035cf318af6" providerId="ADAL" clId="{7439252B-60B4-40D9-9D9B-2AD9ED49787B}" dt="2023-11-17T14:16:20.724" v="364" actId="790"/>
            <ac:spMkLst>
              <pc:docMk/>
              <pc:sldMasterMk cId="409606273" sldId="2147483648"/>
              <pc:sldLayoutMk cId="1085750778" sldId="2147483661"/>
              <ac:spMk id="5" creationId="{1BC78786-28C3-4EAB-A3FC-1A4BFA8447EC}"/>
            </ac:spMkLst>
          </pc:spChg>
          <pc:spChg chg="mod">
            <ac:chgData name="van Leeuwen  Sara (VPPL)" userId="7a5f1df4-0dd0-4c9e-a72f-a035cf318af6" providerId="ADAL" clId="{7439252B-60B4-40D9-9D9B-2AD9ED49787B}" dt="2023-11-17T14:16:20.724" v="365" actId="790"/>
            <ac:spMkLst>
              <pc:docMk/>
              <pc:sldMasterMk cId="409606273" sldId="2147483648"/>
              <pc:sldLayoutMk cId="1085750778" sldId="2147483661"/>
              <ac:spMk id="6" creationId="{0FC1D5C1-A4AD-42D4-93B7-D3B71140E3A1}"/>
            </ac:spMkLst>
          </pc:spChg>
          <pc:spChg chg="del mod modVis">
            <ac:chgData name="van Leeuwen  Sara (VPPL)" userId="7a5f1df4-0dd0-4c9e-a72f-a035cf318af6" providerId="ADAL" clId="{7439252B-60B4-40D9-9D9B-2AD9ED49787B}" dt="2023-11-17T14:16:23.442" v="2546" actId="478"/>
            <ac:spMkLst>
              <pc:docMk/>
              <pc:sldMasterMk cId="409606273" sldId="2147483648"/>
              <pc:sldLayoutMk cId="1085750778" sldId="2147483661"/>
              <ac:spMk id="8" creationId="{0E6AE1A6-89F2-B869-5B8B-5D043BDA39BA}"/>
            </ac:spMkLst>
          </pc:spChg>
          <pc:spChg chg="mod">
            <ac:chgData name="van Leeuwen  Sara (VPPL)" userId="7a5f1df4-0dd0-4c9e-a72f-a035cf318af6" providerId="ADAL" clId="{7439252B-60B4-40D9-9D9B-2AD9ED49787B}" dt="2023-11-17T14:16:20.739" v="367" actId="790"/>
            <ac:spMkLst>
              <pc:docMk/>
              <pc:sldMasterMk cId="409606273" sldId="2147483648"/>
              <pc:sldLayoutMk cId="1085750778" sldId="2147483661"/>
              <ac:spMk id="9" creationId="{1AAB6914-2518-430D-BF4C-14EA51B61410}"/>
            </ac:spMkLst>
          </pc:spChg>
          <pc:spChg chg="mod">
            <ac:chgData name="van Leeuwen  Sara (VPPL)" userId="7a5f1df4-0dd0-4c9e-a72f-a035cf318af6" providerId="ADAL" clId="{7439252B-60B4-40D9-9D9B-2AD9ED49787B}" dt="2023-11-17T14:16:20.739" v="366" actId="790"/>
            <ac:spMkLst>
              <pc:docMk/>
              <pc:sldMasterMk cId="409606273" sldId="2147483648"/>
              <pc:sldLayoutMk cId="1085750778" sldId="2147483661"/>
              <ac:spMk id="11" creationId="{221A3BAE-B19D-4390-B4A5-2C8A2CC87C59}"/>
            </ac:spMkLst>
          </pc:spChg>
          <pc:spChg chg="mod">
            <ac:chgData name="van Leeuwen  Sara (VPPL)" userId="7a5f1df4-0dd0-4c9e-a72f-a035cf318af6" providerId="ADAL" clId="{7439252B-60B4-40D9-9D9B-2AD9ED49787B}" dt="2023-11-17T14:16:20.739" v="368" actId="790"/>
            <ac:spMkLst>
              <pc:docMk/>
              <pc:sldMasterMk cId="409606273" sldId="2147483648"/>
              <pc:sldLayoutMk cId="1085750778" sldId="2147483661"/>
              <ac:spMk id="12" creationId="{5092EEFB-079B-4C38-A665-E52B9837601B}"/>
            </ac:spMkLst>
          </pc:spChg>
          <pc:graphicFrameChg chg="mod">
            <ac:chgData name="van Leeuwen  Sara (VPPL)" userId="7a5f1df4-0dd0-4c9e-a72f-a035cf318af6" providerId="ADAL" clId="{7439252B-60B4-40D9-9D9B-2AD9ED49787B}" dt="2023-11-17T14:16:23.442" v="2547" actId="1076"/>
            <ac:graphicFrameMkLst>
              <pc:docMk/>
              <pc:sldMasterMk cId="409606273" sldId="2147483648"/>
              <pc:sldLayoutMk cId="1085750778" sldId="2147483661"/>
              <ac:graphicFrameMk id="10" creationId="{16902D4C-3B7E-C061-F232-B93DFD8CDC0E}"/>
            </ac:graphicFrameMkLst>
          </pc:graphicFrameChg>
        </pc:sldLayoutChg>
        <pc:sldLayoutChg chg="delSp modSp mod">
          <pc:chgData name="van Leeuwen  Sara (VPPL)" userId="7a5f1df4-0dd0-4c9e-a72f-a035cf318af6" providerId="ADAL" clId="{7439252B-60B4-40D9-9D9B-2AD9ED49787B}" dt="2023-11-17T14:16:23.442" v="2549" actId="1076"/>
          <pc:sldLayoutMkLst>
            <pc:docMk/>
            <pc:sldMasterMk cId="409606273" sldId="2147483648"/>
            <pc:sldLayoutMk cId="2252988954" sldId="2147483662"/>
          </pc:sldLayoutMkLst>
          <pc:spChg chg="mod">
            <ac:chgData name="van Leeuwen  Sara (VPPL)" userId="7a5f1df4-0dd0-4c9e-a72f-a035cf318af6" providerId="ADAL" clId="{7439252B-60B4-40D9-9D9B-2AD9ED49787B}" dt="2023-11-17T14:16:22.624" v="1679" actId="948"/>
            <ac:spMkLst>
              <pc:docMk/>
              <pc:sldMasterMk cId="409606273" sldId="2147483648"/>
              <pc:sldLayoutMk cId="2252988954" sldId="2147483662"/>
              <ac:spMk id="2" creationId="{3346F7F9-CBC8-4641-B12B-7E76FD213E12}"/>
            </ac:spMkLst>
          </pc:spChg>
          <pc:spChg chg="mod">
            <ac:chgData name="van Leeuwen  Sara (VPPL)" userId="7a5f1df4-0dd0-4c9e-a72f-a035cf318af6" providerId="ADAL" clId="{7439252B-60B4-40D9-9D9B-2AD9ED49787B}" dt="2023-11-17T14:16:20.739" v="370" actId="790"/>
            <ac:spMkLst>
              <pc:docMk/>
              <pc:sldMasterMk cId="409606273" sldId="2147483648"/>
              <pc:sldLayoutMk cId="2252988954" sldId="2147483662"/>
              <ac:spMk id="3" creationId="{87D3E2EF-5F98-49EC-BCEA-B215D49920A3}"/>
            </ac:spMkLst>
          </pc:spChg>
          <pc:spChg chg="mod">
            <ac:chgData name="van Leeuwen  Sara (VPPL)" userId="7a5f1df4-0dd0-4c9e-a72f-a035cf318af6" providerId="ADAL" clId="{7439252B-60B4-40D9-9D9B-2AD9ED49787B}" dt="2023-11-17T14:16:20.755" v="371" actId="790"/>
            <ac:spMkLst>
              <pc:docMk/>
              <pc:sldMasterMk cId="409606273" sldId="2147483648"/>
              <pc:sldLayoutMk cId="2252988954" sldId="2147483662"/>
              <ac:spMk id="4" creationId="{67DB21BA-81C0-43DB-A42C-5F672DBC37F2}"/>
            </ac:spMkLst>
          </pc:spChg>
          <pc:spChg chg="mod">
            <ac:chgData name="van Leeuwen  Sara (VPPL)" userId="7a5f1df4-0dd0-4c9e-a72f-a035cf318af6" providerId="ADAL" clId="{7439252B-60B4-40D9-9D9B-2AD9ED49787B}" dt="2023-11-17T14:16:20.755" v="372" actId="790"/>
            <ac:spMkLst>
              <pc:docMk/>
              <pc:sldMasterMk cId="409606273" sldId="2147483648"/>
              <pc:sldLayoutMk cId="2252988954" sldId="2147483662"/>
              <ac:spMk id="5" creationId="{1BC78786-28C3-4EAB-A3FC-1A4BFA8447EC}"/>
            </ac:spMkLst>
          </pc:spChg>
          <pc:spChg chg="mod">
            <ac:chgData name="van Leeuwen  Sara (VPPL)" userId="7a5f1df4-0dd0-4c9e-a72f-a035cf318af6" providerId="ADAL" clId="{7439252B-60B4-40D9-9D9B-2AD9ED49787B}" dt="2023-11-17T14:16:20.755" v="373" actId="790"/>
            <ac:spMkLst>
              <pc:docMk/>
              <pc:sldMasterMk cId="409606273" sldId="2147483648"/>
              <pc:sldLayoutMk cId="2252988954" sldId="2147483662"/>
              <ac:spMk id="6" creationId="{0FC1D5C1-A4AD-42D4-93B7-D3B71140E3A1}"/>
            </ac:spMkLst>
          </pc:spChg>
          <pc:spChg chg="del mod modVis">
            <ac:chgData name="van Leeuwen  Sara (VPPL)" userId="7a5f1df4-0dd0-4c9e-a72f-a035cf318af6" providerId="ADAL" clId="{7439252B-60B4-40D9-9D9B-2AD9ED49787B}" dt="2023-11-17T14:16:23.442" v="2548" actId="478"/>
            <ac:spMkLst>
              <pc:docMk/>
              <pc:sldMasterMk cId="409606273" sldId="2147483648"/>
              <pc:sldLayoutMk cId="2252988954" sldId="2147483662"/>
              <ac:spMk id="8" creationId="{823FC3CB-9818-512B-24F0-8EFE41510B01}"/>
            </ac:spMkLst>
          </pc:spChg>
          <pc:spChg chg="mod">
            <ac:chgData name="van Leeuwen  Sara (VPPL)" userId="7a5f1df4-0dd0-4c9e-a72f-a035cf318af6" providerId="ADAL" clId="{7439252B-60B4-40D9-9D9B-2AD9ED49787B}" dt="2023-11-17T14:16:20.755" v="374" actId="790"/>
            <ac:spMkLst>
              <pc:docMk/>
              <pc:sldMasterMk cId="409606273" sldId="2147483648"/>
              <pc:sldLayoutMk cId="2252988954" sldId="2147483662"/>
              <ac:spMk id="11" creationId="{221A3BAE-B19D-4390-B4A5-2C8A2CC87C59}"/>
            </ac:spMkLst>
          </pc:spChg>
          <pc:spChg chg="mod">
            <ac:chgData name="van Leeuwen  Sara (VPPL)" userId="7a5f1df4-0dd0-4c9e-a72f-a035cf318af6" providerId="ADAL" clId="{7439252B-60B4-40D9-9D9B-2AD9ED49787B}" dt="2023-11-17T14:16:20.755" v="375" actId="790"/>
            <ac:spMkLst>
              <pc:docMk/>
              <pc:sldMasterMk cId="409606273" sldId="2147483648"/>
              <pc:sldLayoutMk cId="2252988954" sldId="2147483662"/>
              <ac:spMk id="13" creationId="{36793346-BF6B-42A8-ADE0-3AA3DC3B239A}"/>
            </ac:spMkLst>
          </pc:spChg>
          <pc:spChg chg="mod">
            <ac:chgData name="van Leeuwen  Sara (VPPL)" userId="7a5f1df4-0dd0-4c9e-a72f-a035cf318af6" providerId="ADAL" clId="{7439252B-60B4-40D9-9D9B-2AD9ED49787B}" dt="2023-11-17T14:16:20.755" v="376" actId="790"/>
            <ac:spMkLst>
              <pc:docMk/>
              <pc:sldMasterMk cId="409606273" sldId="2147483648"/>
              <pc:sldLayoutMk cId="2252988954" sldId="2147483662"/>
              <ac:spMk id="14" creationId="{FE637F68-618E-43EB-B240-4BFA26852FC5}"/>
            </ac:spMkLst>
          </pc:spChg>
          <pc:graphicFrameChg chg="mod">
            <ac:chgData name="van Leeuwen  Sara (VPPL)" userId="7a5f1df4-0dd0-4c9e-a72f-a035cf318af6" providerId="ADAL" clId="{7439252B-60B4-40D9-9D9B-2AD9ED49787B}" dt="2023-11-17T14:16:23.442" v="2549" actId="1076"/>
            <ac:graphicFrameMkLst>
              <pc:docMk/>
              <pc:sldMasterMk cId="409606273" sldId="2147483648"/>
              <pc:sldLayoutMk cId="2252988954" sldId="2147483662"/>
              <ac:graphicFrameMk id="9" creationId="{FF89BBAB-A540-86A1-8FF5-EDD8BE453BEF}"/>
            </ac:graphicFrameMkLst>
          </pc:graphicFrameChg>
        </pc:sldLayoutChg>
        <pc:sldLayoutChg chg="delSp modSp mod">
          <pc:chgData name="van Leeuwen  Sara (VPPL)" userId="7a5f1df4-0dd0-4c9e-a72f-a035cf318af6" providerId="ADAL" clId="{7439252B-60B4-40D9-9D9B-2AD9ED49787B}" dt="2023-11-17T14:16:23.442" v="2551" actId="1076"/>
          <pc:sldLayoutMkLst>
            <pc:docMk/>
            <pc:sldMasterMk cId="409606273" sldId="2147483648"/>
            <pc:sldLayoutMk cId="2928661315" sldId="2147483663"/>
          </pc:sldLayoutMkLst>
          <pc:spChg chg="mod">
            <ac:chgData name="van Leeuwen  Sara (VPPL)" userId="7a5f1df4-0dd0-4c9e-a72f-a035cf318af6" providerId="ADAL" clId="{7439252B-60B4-40D9-9D9B-2AD9ED49787B}" dt="2023-11-17T14:16:22.640" v="1697" actId="948"/>
            <ac:spMkLst>
              <pc:docMk/>
              <pc:sldMasterMk cId="409606273" sldId="2147483648"/>
              <pc:sldLayoutMk cId="2928661315" sldId="2147483663"/>
              <ac:spMk id="2" creationId="{3346F7F9-CBC8-4641-B12B-7E76FD213E12}"/>
            </ac:spMkLst>
          </pc:spChg>
          <pc:spChg chg="mod">
            <ac:chgData name="van Leeuwen  Sara (VPPL)" userId="7a5f1df4-0dd0-4c9e-a72f-a035cf318af6" providerId="ADAL" clId="{7439252B-60B4-40D9-9D9B-2AD9ED49787B}" dt="2023-11-17T14:16:20.771" v="378" actId="790"/>
            <ac:spMkLst>
              <pc:docMk/>
              <pc:sldMasterMk cId="409606273" sldId="2147483648"/>
              <pc:sldLayoutMk cId="2928661315" sldId="2147483663"/>
              <ac:spMk id="3" creationId="{87D3E2EF-5F98-49EC-BCEA-B215D49920A3}"/>
            </ac:spMkLst>
          </pc:spChg>
          <pc:spChg chg="mod">
            <ac:chgData name="van Leeuwen  Sara (VPPL)" userId="7a5f1df4-0dd0-4c9e-a72f-a035cf318af6" providerId="ADAL" clId="{7439252B-60B4-40D9-9D9B-2AD9ED49787B}" dt="2023-11-17T14:16:20.771" v="379" actId="790"/>
            <ac:spMkLst>
              <pc:docMk/>
              <pc:sldMasterMk cId="409606273" sldId="2147483648"/>
              <pc:sldLayoutMk cId="2928661315" sldId="2147483663"/>
              <ac:spMk id="4" creationId="{67DB21BA-81C0-43DB-A42C-5F672DBC37F2}"/>
            </ac:spMkLst>
          </pc:spChg>
          <pc:spChg chg="mod">
            <ac:chgData name="van Leeuwen  Sara (VPPL)" userId="7a5f1df4-0dd0-4c9e-a72f-a035cf318af6" providerId="ADAL" clId="{7439252B-60B4-40D9-9D9B-2AD9ED49787B}" dt="2023-11-17T14:16:20.771" v="380" actId="790"/>
            <ac:spMkLst>
              <pc:docMk/>
              <pc:sldMasterMk cId="409606273" sldId="2147483648"/>
              <pc:sldLayoutMk cId="2928661315" sldId="2147483663"/>
              <ac:spMk id="5" creationId="{1BC78786-28C3-4EAB-A3FC-1A4BFA8447EC}"/>
            </ac:spMkLst>
          </pc:spChg>
          <pc:spChg chg="mod">
            <ac:chgData name="van Leeuwen  Sara (VPPL)" userId="7a5f1df4-0dd0-4c9e-a72f-a035cf318af6" providerId="ADAL" clId="{7439252B-60B4-40D9-9D9B-2AD9ED49787B}" dt="2023-11-17T14:16:20.771" v="381" actId="790"/>
            <ac:spMkLst>
              <pc:docMk/>
              <pc:sldMasterMk cId="409606273" sldId="2147483648"/>
              <pc:sldLayoutMk cId="2928661315" sldId="2147483663"/>
              <ac:spMk id="6" creationId="{0FC1D5C1-A4AD-42D4-93B7-D3B71140E3A1}"/>
            </ac:spMkLst>
          </pc:spChg>
          <pc:spChg chg="del mod modVis">
            <ac:chgData name="van Leeuwen  Sara (VPPL)" userId="7a5f1df4-0dd0-4c9e-a72f-a035cf318af6" providerId="ADAL" clId="{7439252B-60B4-40D9-9D9B-2AD9ED49787B}" dt="2023-11-17T14:16:23.442" v="2550" actId="478"/>
            <ac:spMkLst>
              <pc:docMk/>
              <pc:sldMasterMk cId="409606273" sldId="2147483648"/>
              <pc:sldLayoutMk cId="2928661315" sldId="2147483663"/>
              <ac:spMk id="8" creationId="{BF8113FF-3812-798F-E6DD-ED837DBA6228}"/>
            </ac:spMkLst>
          </pc:spChg>
          <pc:spChg chg="mod">
            <ac:chgData name="van Leeuwen  Sara (VPPL)" userId="7a5f1df4-0dd0-4c9e-a72f-a035cf318af6" providerId="ADAL" clId="{7439252B-60B4-40D9-9D9B-2AD9ED49787B}" dt="2023-11-17T14:16:20.771" v="382" actId="790"/>
            <ac:spMkLst>
              <pc:docMk/>
              <pc:sldMasterMk cId="409606273" sldId="2147483648"/>
              <pc:sldLayoutMk cId="2928661315" sldId="2147483663"/>
              <ac:spMk id="9" creationId="{A1D947E6-CC00-458E-BDE1-B0877E30333C}"/>
            </ac:spMkLst>
          </pc:spChg>
          <pc:graphicFrameChg chg="mod">
            <ac:chgData name="van Leeuwen  Sara (VPPL)" userId="7a5f1df4-0dd0-4c9e-a72f-a035cf318af6" providerId="ADAL" clId="{7439252B-60B4-40D9-9D9B-2AD9ED49787B}" dt="2023-11-17T14:16:23.442" v="2551" actId="1076"/>
            <ac:graphicFrameMkLst>
              <pc:docMk/>
              <pc:sldMasterMk cId="409606273" sldId="2147483648"/>
              <pc:sldLayoutMk cId="2928661315" sldId="2147483663"/>
              <ac:graphicFrameMk id="10" creationId="{43F0FDB3-92ED-A659-5296-69686EC3DDE3}"/>
            </ac:graphicFrameMkLst>
          </pc:graphicFrameChg>
        </pc:sldLayoutChg>
        <pc:sldLayoutChg chg="modSp mod">
          <pc:chgData name="van Leeuwen  Sara (VPPL)" userId="7a5f1df4-0dd0-4c9e-a72f-a035cf318af6" providerId="ADAL" clId="{7439252B-60B4-40D9-9D9B-2AD9ED49787B}" dt="2023-11-17T14:16:23.442" v="2552" actId="1076"/>
          <pc:sldLayoutMkLst>
            <pc:docMk/>
            <pc:sldMasterMk cId="409606273" sldId="2147483648"/>
            <pc:sldLayoutMk cId="1752670339" sldId="2147483664"/>
          </pc:sldLayoutMkLst>
          <pc:spChg chg="mod">
            <ac:chgData name="van Leeuwen  Sara (VPPL)" userId="7a5f1df4-0dd0-4c9e-a72f-a035cf318af6" providerId="ADAL" clId="{7439252B-60B4-40D9-9D9B-2AD9ED49787B}" dt="2023-11-17T14:16:20.771" v="383" actId="790"/>
            <ac:spMkLst>
              <pc:docMk/>
              <pc:sldMasterMk cId="409606273" sldId="2147483648"/>
              <pc:sldLayoutMk cId="1752670339" sldId="2147483664"/>
              <ac:spMk id="20" creationId="{394B20FF-3667-40DF-92A1-C6CF3BBCA26D}"/>
            </ac:spMkLst>
          </pc:spChg>
          <pc:spChg chg="mod">
            <ac:chgData name="van Leeuwen  Sara (VPPL)" userId="7a5f1df4-0dd0-4c9e-a72f-a035cf318af6" providerId="ADAL" clId="{7439252B-60B4-40D9-9D9B-2AD9ED49787B}" dt="2023-11-17T14:16:20.786" v="384" actId="790"/>
            <ac:spMkLst>
              <pc:docMk/>
              <pc:sldMasterMk cId="409606273" sldId="2147483648"/>
              <pc:sldLayoutMk cId="1752670339" sldId="2147483664"/>
              <ac:spMk id="21" creationId="{794484F1-3B7F-46CE-AD0B-2310A557A990}"/>
            </ac:spMkLst>
          </pc:spChg>
          <pc:graphicFrameChg chg="mod">
            <ac:chgData name="van Leeuwen  Sara (VPPL)" userId="7a5f1df4-0dd0-4c9e-a72f-a035cf318af6" providerId="ADAL" clId="{7439252B-60B4-40D9-9D9B-2AD9ED49787B}" dt="2023-11-17T14:16:23.442" v="2552" actId="1076"/>
            <ac:graphicFrameMkLst>
              <pc:docMk/>
              <pc:sldMasterMk cId="409606273" sldId="2147483648"/>
              <pc:sldLayoutMk cId="1752670339" sldId="2147483664"/>
              <ac:graphicFrameMk id="2" creationId="{A9527B25-39A7-5858-EADB-9AAB59EBF5E8}"/>
            </ac:graphicFrameMkLst>
          </pc:graphicFrameChg>
        </pc:sldLayoutChg>
        <pc:sldLayoutChg chg="delSp modSp mod">
          <pc:chgData name="van Leeuwen  Sara (VPPL)" userId="7a5f1df4-0dd0-4c9e-a72f-a035cf318af6" providerId="ADAL" clId="{7439252B-60B4-40D9-9D9B-2AD9ED49787B}" dt="2023-11-17T14:16:23.442" v="2554" actId="1076"/>
          <pc:sldLayoutMkLst>
            <pc:docMk/>
            <pc:sldMasterMk cId="409606273" sldId="2147483648"/>
            <pc:sldLayoutMk cId="691335200" sldId="2147483665"/>
          </pc:sldLayoutMkLst>
          <pc:spChg chg="mod">
            <ac:chgData name="van Leeuwen  Sara (VPPL)" userId="7a5f1df4-0dd0-4c9e-a72f-a035cf318af6" providerId="ADAL" clId="{7439252B-60B4-40D9-9D9B-2AD9ED49787B}" dt="2023-11-17T14:16:22.656" v="1715" actId="948"/>
            <ac:spMkLst>
              <pc:docMk/>
              <pc:sldMasterMk cId="409606273" sldId="2147483648"/>
              <pc:sldLayoutMk cId="691335200" sldId="2147483665"/>
              <ac:spMk id="2" creationId="{00000000-0000-0000-0000-000000000000}"/>
            </ac:spMkLst>
          </pc:spChg>
          <pc:spChg chg="mod">
            <ac:chgData name="van Leeuwen  Sara (VPPL)" userId="7a5f1df4-0dd0-4c9e-a72f-a035cf318af6" providerId="ADAL" clId="{7439252B-60B4-40D9-9D9B-2AD9ED49787B}" dt="2023-11-17T14:16:20.786" v="386" actId="790"/>
            <ac:spMkLst>
              <pc:docMk/>
              <pc:sldMasterMk cId="409606273" sldId="2147483648"/>
              <pc:sldLayoutMk cId="691335200" sldId="2147483665"/>
              <ac:spMk id="3" creationId="{00000000-0000-0000-0000-000000000000}"/>
            </ac:spMkLst>
          </pc:spChg>
          <pc:spChg chg="mod">
            <ac:chgData name="van Leeuwen  Sara (VPPL)" userId="7a5f1df4-0dd0-4c9e-a72f-a035cf318af6" providerId="ADAL" clId="{7439252B-60B4-40D9-9D9B-2AD9ED49787B}" dt="2023-11-17T14:16:20.786" v="387" actId="790"/>
            <ac:spMkLst>
              <pc:docMk/>
              <pc:sldMasterMk cId="409606273" sldId="2147483648"/>
              <pc:sldLayoutMk cId="691335200" sldId="2147483665"/>
              <ac:spMk id="4" creationId="{00000000-0000-0000-0000-000000000000}"/>
            </ac:spMkLst>
          </pc:spChg>
          <pc:spChg chg="mod">
            <ac:chgData name="van Leeuwen  Sara (VPPL)" userId="7a5f1df4-0dd0-4c9e-a72f-a035cf318af6" providerId="ADAL" clId="{7439252B-60B4-40D9-9D9B-2AD9ED49787B}" dt="2023-11-17T14:16:20.786" v="388" actId="790"/>
            <ac:spMkLst>
              <pc:docMk/>
              <pc:sldMasterMk cId="409606273" sldId="2147483648"/>
              <pc:sldLayoutMk cId="691335200" sldId="2147483665"/>
              <ac:spMk id="5" creationId="{00000000-0000-0000-0000-000000000000}"/>
            </ac:spMkLst>
          </pc:spChg>
          <pc:spChg chg="del mod modVis">
            <ac:chgData name="van Leeuwen  Sara (VPPL)" userId="7a5f1df4-0dd0-4c9e-a72f-a035cf318af6" providerId="ADAL" clId="{7439252B-60B4-40D9-9D9B-2AD9ED49787B}" dt="2023-11-17T14:16:23.442" v="2553" actId="478"/>
            <ac:spMkLst>
              <pc:docMk/>
              <pc:sldMasterMk cId="409606273" sldId="2147483648"/>
              <pc:sldLayoutMk cId="691335200" sldId="2147483665"/>
              <ac:spMk id="6" creationId="{A11C42F6-E224-E2C4-6B51-3499652B3F66}"/>
            </ac:spMkLst>
          </pc:spChg>
          <pc:graphicFrameChg chg="mod">
            <ac:chgData name="van Leeuwen  Sara (VPPL)" userId="7a5f1df4-0dd0-4c9e-a72f-a035cf318af6" providerId="ADAL" clId="{7439252B-60B4-40D9-9D9B-2AD9ED49787B}" dt="2023-11-17T14:16:23.442" v="2554" actId="1076"/>
            <ac:graphicFrameMkLst>
              <pc:docMk/>
              <pc:sldMasterMk cId="409606273" sldId="2147483648"/>
              <pc:sldLayoutMk cId="691335200" sldId="2147483665"/>
              <ac:graphicFrameMk id="7" creationId="{25D4132F-BCC7-1A1C-1204-1C854A1D631B}"/>
            </ac:graphicFrameMkLst>
          </pc:graphicFrameChg>
        </pc:sldLayoutChg>
        <pc:sldLayoutChg chg="delSp modSp mod">
          <pc:chgData name="van Leeuwen  Sara (VPPL)" userId="7a5f1df4-0dd0-4c9e-a72f-a035cf318af6" providerId="ADAL" clId="{7439252B-60B4-40D9-9D9B-2AD9ED49787B}" dt="2023-11-17T14:16:23.442" v="2556" actId="1076"/>
          <pc:sldLayoutMkLst>
            <pc:docMk/>
            <pc:sldMasterMk cId="409606273" sldId="2147483648"/>
            <pc:sldLayoutMk cId="39068553" sldId="2147483666"/>
          </pc:sldLayoutMkLst>
          <pc:spChg chg="mod">
            <ac:chgData name="van Leeuwen  Sara (VPPL)" userId="7a5f1df4-0dd0-4c9e-a72f-a035cf318af6" providerId="ADAL" clId="{7439252B-60B4-40D9-9D9B-2AD9ED49787B}" dt="2023-11-17T14:16:22.671" v="1733" actId="948"/>
            <ac:spMkLst>
              <pc:docMk/>
              <pc:sldMasterMk cId="409606273" sldId="2147483648"/>
              <pc:sldLayoutMk cId="39068553" sldId="2147483666"/>
              <ac:spMk id="2" creationId="{00000000-0000-0000-0000-000000000000}"/>
            </ac:spMkLst>
          </pc:spChg>
          <pc:spChg chg="mod">
            <ac:chgData name="van Leeuwen  Sara (VPPL)" userId="7a5f1df4-0dd0-4c9e-a72f-a035cf318af6" providerId="ADAL" clId="{7439252B-60B4-40D9-9D9B-2AD9ED49787B}" dt="2023-11-17T14:16:20.802" v="390" actId="790"/>
            <ac:spMkLst>
              <pc:docMk/>
              <pc:sldMasterMk cId="409606273" sldId="2147483648"/>
              <pc:sldLayoutMk cId="39068553" sldId="2147483666"/>
              <ac:spMk id="3" creationId="{00000000-0000-0000-0000-000000000000}"/>
            </ac:spMkLst>
          </pc:spChg>
          <pc:spChg chg="mod">
            <ac:chgData name="van Leeuwen  Sara (VPPL)" userId="7a5f1df4-0dd0-4c9e-a72f-a035cf318af6" providerId="ADAL" clId="{7439252B-60B4-40D9-9D9B-2AD9ED49787B}" dt="2023-11-17T14:16:20.802" v="391" actId="790"/>
            <ac:spMkLst>
              <pc:docMk/>
              <pc:sldMasterMk cId="409606273" sldId="2147483648"/>
              <pc:sldLayoutMk cId="39068553" sldId="2147483666"/>
              <ac:spMk id="4" creationId="{00000000-0000-0000-0000-000000000000}"/>
            </ac:spMkLst>
          </pc:spChg>
          <pc:spChg chg="mod">
            <ac:chgData name="van Leeuwen  Sara (VPPL)" userId="7a5f1df4-0dd0-4c9e-a72f-a035cf318af6" providerId="ADAL" clId="{7439252B-60B4-40D9-9D9B-2AD9ED49787B}" dt="2023-11-17T14:16:20.802" v="392" actId="790"/>
            <ac:spMkLst>
              <pc:docMk/>
              <pc:sldMasterMk cId="409606273" sldId="2147483648"/>
              <pc:sldLayoutMk cId="39068553" sldId="2147483666"/>
              <ac:spMk id="5" creationId="{00000000-0000-0000-0000-000000000000}"/>
            </ac:spMkLst>
          </pc:spChg>
          <pc:spChg chg="mod">
            <ac:chgData name="van Leeuwen  Sara (VPPL)" userId="7a5f1df4-0dd0-4c9e-a72f-a035cf318af6" providerId="ADAL" clId="{7439252B-60B4-40D9-9D9B-2AD9ED49787B}" dt="2023-11-17T14:16:20.814" v="393" actId="790"/>
            <ac:spMkLst>
              <pc:docMk/>
              <pc:sldMasterMk cId="409606273" sldId="2147483648"/>
              <pc:sldLayoutMk cId="39068553" sldId="2147483666"/>
              <ac:spMk id="6" creationId="{00000000-0000-0000-0000-000000000000}"/>
            </ac:spMkLst>
          </pc:spChg>
          <pc:spChg chg="del mod modVis">
            <ac:chgData name="van Leeuwen  Sara (VPPL)" userId="7a5f1df4-0dd0-4c9e-a72f-a035cf318af6" providerId="ADAL" clId="{7439252B-60B4-40D9-9D9B-2AD9ED49787B}" dt="2023-11-17T14:16:23.442" v="2555" actId="478"/>
            <ac:spMkLst>
              <pc:docMk/>
              <pc:sldMasterMk cId="409606273" sldId="2147483648"/>
              <pc:sldLayoutMk cId="39068553" sldId="2147483666"/>
              <ac:spMk id="7" creationId="{AEEDC1CA-0FDC-BB45-210A-ACA48D37743C}"/>
            </ac:spMkLst>
          </pc:spChg>
          <pc:graphicFrameChg chg="mod">
            <ac:chgData name="van Leeuwen  Sara (VPPL)" userId="7a5f1df4-0dd0-4c9e-a72f-a035cf318af6" providerId="ADAL" clId="{7439252B-60B4-40D9-9D9B-2AD9ED49787B}" dt="2023-11-17T14:16:23.442" v="2556" actId="1076"/>
            <ac:graphicFrameMkLst>
              <pc:docMk/>
              <pc:sldMasterMk cId="409606273" sldId="2147483648"/>
              <pc:sldLayoutMk cId="39068553" sldId="2147483666"/>
              <ac:graphicFrameMk id="8" creationId="{C4856E5D-F9B6-EF77-BCBB-C20C08EA7F74}"/>
            </ac:graphicFrameMkLst>
          </pc:graphicFrameChg>
        </pc:sldLayoutChg>
        <pc:sldLayoutChg chg="delSp modSp mod">
          <pc:chgData name="van Leeuwen  Sara (VPPL)" userId="7a5f1df4-0dd0-4c9e-a72f-a035cf318af6" providerId="ADAL" clId="{7439252B-60B4-40D9-9D9B-2AD9ED49787B}" dt="2023-11-17T14:16:23.473" v="2574" actId="1076"/>
          <pc:sldLayoutMkLst>
            <pc:docMk/>
            <pc:sldMasterMk cId="409606273" sldId="2147483648"/>
            <pc:sldLayoutMk cId="2533257179" sldId="2147483668"/>
          </pc:sldLayoutMkLst>
          <pc:spChg chg="mod">
            <ac:chgData name="van Leeuwen  Sara (VPPL)" userId="7a5f1df4-0dd0-4c9e-a72f-a035cf318af6" providerId="ADAL" clId="{7439252B-60B4-40D9-9D9B-2AD9ED49787B}" dt="2023-11-17T14:16:22.845" v="1895" actId="948"/>
            <ac:spMkLst>
              <pc:docMk/>
              <pc:sldMasterMk cId="409606273" sldId="2147483648"/>
              <pc:sldLayoutMk cId="2533257179" sldId="2147483668"/>
              <ac:spMk id="2" creationId="{3346F7F9-CBC8-4641-B12B-7E76FD213E12}"/>
            </ac:spMkLst>
          </pc:spChg>
          <pc:spChg chg="mod">
            <ac:chgData name="van Leeuwen  Sara (VPPL)" userId="7a5f1df4-0dd0-4c9e-a72f-a035cf318af6" providerId="ADAL" clId="{7439252B-60B4-40D9-9D9B-2AD9ED49787B}" dt="2023-11-17T14:16:20.928" v="435" actId="790"/>
            <ac:spMkLst>
              <pc:docMk/>
              <pc:sldMasterMk cId="409606273" sldId="2147483648"/>
              <pc:sldLayoutMk cId="2533257179" sldId="2147483668"/>
              <ac:spMk id="3" creationId="{87D3E2EF-5F98-49EC-BCEA-B215D49920A3}"/>
            </ac:spMkLst>
          </pc:spChg>
          <pc:spChg chg="mod">
            <ac:chgData name="van Leeuwen  Sara (VPPL)" userId="7a5f1df4-0dd0-4c9e-a72f-a035cf318af6" providerId="ADAL" clId="{7439252B-60B4-40D9-9D9B-2AD9ED49787B}" dt="2023-11-17T14:16:20.928" v="436" actId="790"/>
            <ac:spMkLst>
              <pc:docMk/>
              <pc:sldMasterMk cId="409606273" sldId="2147483648"/>
              <pc:sldLayoutMk cId="2533257179" sldId="2147483668"/>
              <ac:spMk id="4" creationId="{67DB21BA-81C0-43DB-A42C-5F672DBC37F2}"/>
            </ac:spMkLst>
          </pc:spChg>
          <pc:spChg chg="mod">
            <ac:chgData name="van Leeuwen  Sara (VPPL)" userId="7a5f1df4-0dd0-4c9e-a72f-a035cf318af6" providerId="ADAL" clId="{7439252B-60B4-40D9-9D9B-2AD9ED49787B}" dt="2023-11-17T14:16:20.928" v="437" actId="790"/>
            <ac:spMkLst>
              <pc:docMk/>
              <pc:sldMasterMk cId="409606273" sldId="2147483648"/>
              <pc:sldLayoutMk cId="2533257179" sldId="2147483668"/>
              <ac:spMk id="5" creationId="{1BC78786-28C3-4EAB-A3FC-1A4BFA8447EC}"/>
            </ac:spMkLst>
          </pc:spChg>
          <pc:spChg chg="mod">
            <ac:chgData name="van Leeuwen  Sara (VPPL)" userId="7a5f1df4-0dd0-4c9e-a72f-a035cf318af6" providerId="ADAL" clId="{7439252B-60B4-40D9-9D9B-2AD9ED49787B}" dt="2023-11-17T14:16:20.928" v="438" actId="790"/>
            <ac:spMkLst>
              <pc:docMk/>
              <pc:sldMasterMk cId="409606273" sldId="2147483648"/>
              <pc:sldLayoutMk cId="2533257179" sldId="2147483668"/>
              <ac:spMk id="6" creationId="{0FC1D5C1-A4AD-42D4-93B7-D3B71140E3A1}"/>
            </ac:spMkLst>
          </pc:spChg>
          <pc:spChg chg="del mod modVis">
            <ac:chgData name="van Leeuwen  Sara (VPPL)" userId="7a5f1df4-0dd0-4c9e-a72f-a035cf318af6" providerId="ADAL" clId="{7439252B-60B4-40D9-9D9B-2AD9ED49787B}" dt="2023-11-17T14:16:23.473" v="2573" actId="478"/>
            <ac:spMkLst>
              <pc:docMk/>
              <pc:sldMasterMk cId="409606273" sldId="2147483648"/>
              <pc:sldLayoutMk cId="2533257179" sldId="2147483668"/>
              <ac:spMk id="8" creationId="{AA3B328A-F613-9F9A-DF7A-208F017C7478}"/>
            </ac:spMkLst>
          </pc:spChg>
          <pc:spChg chg="mod">
            <ac:chgData name="van Leeuwen  Sara (VPPL)" userId="7a5f1df4-0dd0-4c9e-a72f-a035cf318af6" providerId="ADAL" clId="{7439252B-60B4-40D9-9D9B-2AD9ED49787B}" dt="2023-11-17T14:16:20.928" v="439" actId="790"/>
            <ac:spMkLst>
              <pc:docMk/>
              <pc:sldMasterMk cId="409606273" sldId="2147483648"/>
              <pc:sldLayoutMk cId="2533257179" sldId="2147483668"/>
              <ac:spMk id="11" creationId="{2F6D94FA-21C6-4AE0-AA4F-3A077810ED93}"/>
            </ac:spMkLst>
          </pc:spChg>
          <pc:graphicFrameChg chg="mod">
            <ac:chgData name="van Leeuwen  Sara (VPPL)" userId="7a5f1df4-0dd0-4c9e-a72f-a035cf318af6" providerId="ADAL" clId="{7439252B-60B4-40D9-9D9B-2AD9ED49787B}" dt="2023-11-17T14:16:23.473" v="2574" actId="1076"/>
            <ac:graphicFrameMkLst>
              <pc:docMk/>
              <pc:sldMasterMk cId="409606273" sldId="2147483648"/>
              <pc:sldLayoutMk cId="2533257179" sldId="2147483668"/>
              <ac:graphicFrameMk id="9" creationId="{00219EBA-1C80-A0E9-B24B-37885A5A8D20}"/>
            </ac:graphicFrameMkLst>
          </pc:graphicFrameChg>
        </pc:sldLayoutChg>
        <pc:sldLayoutChg chg="delSp modSp mod">
          <pc:chgData name="van Leeuwen  Sara (VPPL)" userId="7a5f1df4-0dd0-4c9e-a72f-a035cf318af6" providerId="ADAL" clId="{7439252B-60B4-40D9-9D9B-2AD9ED49787B}" dt="2023-11-17T14:16:23.411" v="2523" actId="1076"/>
          <pc:sldLayoutMkLst>
            <pc:docMk/>
            <pc:sldMasterMk cId="409606273" sldId="2147483648"/>
            <pc:sldLayoutMk cId="251652625" sldId="2147483669"/>
          </pc:sldLayoutMkLst>
          <pc:spChg chg="mod">
            <ac:chgData name="van Leeuwen  Sara (VPPL)" userId="7a5f1df4-0dd0-4c9e-a72f-a035cf318af6" providerId="ADAL" clId="{7439252B-60B4-40D9-9D9B-2AD9ED49787B}" dt="2023-11-17T14:16:22.416" v="1463" actId="948"/>
            <ac:spMkLst>
              <pc:docMk/>
              <pc:sldMasterMk cId="409606273" sldId="2147483648"/>
              <pc:sldLayoutMk cId="251652625" sldId="2147483669"/>
              <ac:spMk id="2" creationId="{3346F7F9-CBC8-4641-B12B-7E76FD213E12}"/>
            </ac:spMkLst>
          </pc:spChg>
          <pc:spChg chg="del mod modVis">
            <ac:chgData name="van Leeuwen  Sara (VPPL)" userId="7a5f1df4-0dd0-4c9e-a72f-a035cf318af6" providerId="ADAL" clId="{7439252B-60B4-40D9-9D9B-2AD9ED49787B}" dt="2023-11-17T14:16:23.411" v="2522" actId="478"/>
            <ac:spMkLst>
              <pc:docMk/>
              <pc:sldMasterMk cId="409606273" sldId="2147483648"/>
              <pc:sldLayoutMk cId="251652625" sldId="2147483669"/>
              <ac:spMk id="3" creationId="{78CE0262-DF39-74ED-2E12-A0EC6DA22E30}"/>
            </ac:spMkLst>
          </pc:spChg>
          <pc:spChg chg="mod">
            <ac:chgData name="van Leeuwen  Sara (VPPL)" userId="7a5f1df4-0dd0-4c9e-a72f-a035cf318af6" providerId="ADAL" clId="{7439252B-60B4-40D9-9D9B-2AD9ED49787B}" dt="2023-11-17T14:16:20.520" v="259" actId="790"/>
            <ac:spMkLst>
              <pc:docMk/>
              <pc:sldMasterMk cId="409606273" sldId="2147483648"/>
              <pc:sldLayoutMk cId="251652625" sldId="2147483669"/>
              <ac:spMk id="4" creationId="{67DB21BA-81C0-43DB-A42C-5F672DBC37F2}"/>
            </ac:spMkLst>
          </pc:spChg>
          <pc:spChg chg="mod">
            <ac:chgData name="van Leeuwen  Sara (VPPL)" userId="7a5f1df4-0dd0-4c9e-a72f-a035cf318af6" providerId="ADAL" clId="{7439252B-60B4-40D9-9D9B-2AD9ED49787B}" dt="2023-11-17T14:16:20.520" v="260" actId="790"/>
            <ac:spMkLst>
              <pc:docMk/>
              <pc:sldMasterMk cId="409606273" sldId="2147483648"/>
              <pc:sldLayoutMk cId="251652625" sldId="2147483669"/>
              <ac:spMk id="5" creationId="{1BC78786-28C3-4EAB-A3FC-1A4BFA8447EC}"/>
            </ac:spMkLst>
          </pc:spChg>
          <pc:spChg chg="mod">
            <ac:chgData name="van Leeuwen  Sara (VPPL)" userId="7a5f1df4-0dd0-4c9e-a72f-a035cf318af6" providerId="ADAL" clId="{7439252B-60B4-40D9-9D9B-2AD9ED49787B}" dt="2023-11-17T14:16:20.536" v="261" actId="790"/>
            <ac:spMkLst>
              <pc:docMk/>
              <pc:sldMasterMk cId="409606273" sldId="2147483648"/>
              <pc:sldLayoutMk cId="251652625" sldId="2147483669"/>
              <ac:spMk id="6" creationId="{0FC1D5C1-A4AD-42D4-93B7-D3B71140E3A1}"/>
            </ac:spMkLst>
          </pc:spChg>
          <pc:spChg chg="mod">
            <ac:chgData name="van Leeuwen  Sara (VPPL)" userId="7a5f1df4-0dd0-4c9e-a72f-a035cf318af6" providerId="ADAL" clId="{7439252B-60B4-40D9-9D9B-2AD9ED49787B}" dt="2023-11-17T14:16:20.536" v="281" actId="947"/>
            <ac:spMkLst>
              <pc:docMk/>
              <pc:sldMasterMk cId="409606273" sldId="2147483648"/>
              <pc:sldLayoutMk cId="251652625" sldId="2147483669"/>
              <ac:spMk id="13" creationId="{18BB0752-F87C-44D9-A9A5-97AF1DEDA1AE}"/>
            </ac:spMkLst>
          </pc:spChg>
          <pc:spChg chg="mod">
            <ac:chgData name="van Leeuwen  Sara (VPPL)" userId="7a5f1df4-0dd0-4c9e-a72f-a035cf318af6" providerId="ADAL" clId="{7439252B-60B4-40D9-9D9B-2AD9ED49787B}" dt="2023-11-17T14:16:20.536" v="279" actId="947"/>
            <ac:spMkLst>
              <pc:docMk/>
              <pc:sldMasterMk cId="409606273" sldId="2147483648"/>
              <pc:sldLayoutMk cId="251652625" sldId="2147483669"/>
              <ac:spMk id="14" creationId="{ED44DE23-7081-4AC9-BF06-502BEC71C004}"/>
            </ac:spMkLst>
          </pc:spChg>
          <pc:spChg chg="mod">
            <ac:chgData name="van Leeuwen  Sara (VPPL)" userId="7a5f1df4-0dd0-4c9e-a72f-a035cf318af6" providerId="ADAL" clId="{7439252B-60B4-40D9-9D9B-2AD9ED49787B}" dt="2023-11-17T14:16:20.536" v="277" actId="947"/>
            <ac:spMkLst>
              <pc:docMk/>
              <pc:sldMasterMk cId="409606273" sldId="2147483648"/>
              <pc:sldLayoutMk cId="251652625" sldId="2147483669"/>
              <ac:spMk id="15" creationId="{18C24FD2-AEE2-43CA-8EB3-8E646C2E5E46}"/>
            </ac:spMkLst>
          </pc:spChg>
          <pc:spChg chg="mod">
            <ac:chgData name="van Leeuwen  Sara (VPPL)" userId="7a5f1df4-0dd0-4c9e-a72f-a035cf318af6" providerId="ADAL" clId="{7439252B-60B4-40D9-9D9B-2AD9ED49787B}" dt="2023-11-17T14:16:20.536" v="275" actId="947"/>
            <ac:spMkLst>
              <pc:docMk/>
              <pc:sldMasterMk cId="409606273" sldId="2147483648"/>
              <pc:sldLayoutMk cId="251652625" sldId="2147483669"/>
              <ac:spMk id="16" creationId="{AEE7F6F4-4D2C-45B3-A061-9606B2BD36A7}"/>
            </ac:spMkLst>
          </pc:spChg>
          <pc:spChg chg="mod">
            <ac:chgData name="van Leeuwen  Sara (VPPL)" userId="7a5f1df4-0dd0-4c9e-a72f-a035cf318af6" providerId="ADAL" clId="{7439252B-60B4-40D9-9D9B-2AD9ED49787B}" dt="2023-11-17T14:16:20.536" v="273" actId="947"/>
            <ac:spMkLst>
              <pc:docMk/>
              <pc:sldMasterMk cId="409606273" sldId="2147483648"/>
              <pc:sldLayoutMk cId="251652625" sldId="2147483669"/>
              <ac:spMk id="18" creationId="{B2186F78-5D28-4695-8B1C-5A3F1A53AAB3}"/>
            </ac:spMkLst>
          </pc:spChg>
          <pc:spChg chg="mod">
            <ac:chgData name="van Leeuwen  Sara (VPPL)" userId="7a5f1df4-0dd0-4c9e-a72f-a035cf318af6" providerId="ADAL" clId="{7439252B-60B4-40D9-9D9B-2AD9ED49787B}" dt="2023-11-17T14:16:20.536" v="271" actId="947"/>
            <ac:spMkLst>
              <pc:docMk/>
              <pc:sldMasterMk cId="409606273" sldId="2147483648"/>
              <pc:sldLayoutMk cId="251652625" sldId="2147483669"/>
              <ac:spMk id="19" creationId="{1FE5475E-83C3-4BE3-BBF1-FAE9A6986B3F}"/>
            </ac:spMkLst>
          </pc:spChg>
          <pc:spChg chg="mod">
            <ac:chgData name="van Leeuwen  Sara (VPPL)" userId="7a5f1df4-0dd0-4c9e-a72f-a035cf318af6" providerId="ADAL" clId="{7439252B-60B4-40D9-9D9B-2AD9ED49787B}" dt="2023-11-17T14:16:20.536" v="269" actId="947"/>
            <ac:spMkLst>
              <pc:docMk/>
              <pc:sldMasterMk cId="409606273" sldId="2147483648"/>
              <pc:sldLayoutMk cId="251652625" sldId="2147483669"/>
              <ac:spMk id="20" creationId="{41B77B6E-E7CB-412B-95AC-A9322C6799BB}"/>
            </ac:spMkLst>
          </pc:spChg>
          <pc:spChg chg="mod">
            <ac:chgData name="van Leeuwen  Sara (VPPL)" userId="7a5f1df4-0dd0-4c9e-a72f-a035cf318af6" providerId="ADAL" clId="{7439252B-60B4-40D9-9D9B-2AD9ED49787B}" dt="2023-11-17T14:16:20.536" v="267" actId="947"/>
            <ac:spMkLst>
              <pc:docMk/>
              <pc:sldMasterMk cId="409606273" sldId="2147483648"/>
              <pc:sldLayoutMk cId="251652625" sldId="2147483669"/>
              <ac:spMk id="21" creationId="{832E5C1A-13CE-49A6-B590-B6EAA5F9E1AD}"/>
            </ac:spMkLst>
          </pc:spChg>
          <pc:spChg chg="mod">
            <ac:chgData name="van Leeuwen  Sara (VPPL)" userId="7a5f1df4-0dd0-4c9e-a72f-a035cf318af6" providerId="ADAL" clId="{7439252B-60B4-40D9-9D9B-2AD9ED49787B}" dt="2023-11-17T14:16:20.536" v="265" actId="947"/>
            <ac:spMkLst>
              <pc:docMk/>
              <pc:sldMasterMk cId="409606273" sldId="2147483648"/>
              <pc:sldLayoutMk cId="251652625" sldId="2147483669"/>
              <ac:spMk id="22" creationId="{63AE00B0-780F-4053-8FE9-B7D321217AFF}"/>
            </ac:spMkLst>
          </pc:spChg>
          <pc:spChg chg="mod">
            <ac:chgData name="van Leeuwen  Sara (VPPL)" userId="7a5f1df4-0dd0-4c9e-a72f-a035cf318af6" providerId="ADAL" clId="{7439252B-60B4-40D9-9D9B-2AD9ED49787B}" dt="2023-11-17T14:16:20.536" v="263" actId="947"/>
            <ac:spMkLst>
              <pc:docMk/>
              <pc:sldMasterMk cId="409606273" sldId="2147483648"/>
              <pc:sldLayoutMk cId="251652625" sldId="2147483669"/>
              <ac:spMk id="23" creationId="{2406CEAF-7399-4CCB-A322-03F0BA2532F5}"/>
            </ac:spMkLst>
          </pc:spChg>
          <pc:graphicFrameChg chg="mod">
            <ac:chgData name="van Leeuwen  Sara (VPPL)" userId="7a5f1df4-0dd0-4c9e-a72f-a035cf318af6" providerId="ADAL" clId="{7439252B-60B4-40D9-9D9B-2AD9ED49787B}" dt="2023-11-17T14:16:23.411" v="2523" actId="1076"/>
            <ac:graphicFrameMkLst>
              <pc:docMk/>
              <pc:sldMasterMk cId="409606273" sldId="2147483648"/>
              <pc:sldLayoutMk cId="251652625" sldId="2147483669"/>
              <ac:graphicFrameMk id="7" creationId="{515C5B71-4EA8-CE98-62D3-A96FDB8A9640}"/>
            </ac:graphicFrameMkLst>
          </pc:graphicFrameChg>
        </pc:sldLayoutChg>
        <pc:sldLayoutChg chg="delSp modSp mod">
          <pc:chgData name="van Leeuwen  Sara (VPPL)" userId="7a5f1df4-0dd0-4c9e-a72f-a035cf318af6" providerId="ADAL" clId="{7439252B-60B4-40D9-9D9B-2AD9ED49787B}" dt="2023-11-17T14:16:23.417" v="2525" actId="1076"/>
          <pc:sldLayoutMkLst>
            <pc:docMk/>
            <pc:sldMasterMk cId="409606273" sldId="2147483648"/>
            <pc:sldLayoutMk cId="870631199" sldId="2147483670"/>
          </pc:sldLayoutMkLst>
          <pc:spChg chg="mod">
            <ac:chgData name="van Leeuwen  Sara (VPPL)" userId="7a5f1df4-0dd0-4c9e-a72f-a035cf318af6" providerId="ADAL" clId="{7439252B-60B4-40D9-9D9B-2AD9ED49787B}" dt="2023-11-17T14:16:22.436" v="1481" actId="948"/>
            <ac:spMkLst>
              <pc:docMk/>
              <pc:sldMasterMk cId="409606273" sldId="2147483648"/>
              <pc:sldLayoutMk cId="870631199" sldId="2147483670"/>
              <ac:spMk id="2" creationId="{3346F7F9-CBC8-4641-B12B-7E76FD213E12}"/>
            </ac:spMkLst>
          </pc:spChg>
          <pc:spChg chg="del mod modVis">
            <ac:chgData name="van Leeuwen  Sara (VPPL)" userId="7a5f1df4-0dd0-4c9e-a72f-a035cf318af6" providerId="ADAL" clId="{7439252B-60B4-40D9-9D9B-2AD9ED49787B}" dt="2023-11-17T14:16:23.411" v="2524" actId="478"/>
            <ac:spMkLst>
              <pc:docMk/>
              <pc:sldMasterMk cId="409606273" sldId="2147483648"/>
              <pc:sldLayoutMk cId="870631199" sldId="2147483670"/>
              <ac:spMk id="3" creationId="{753DDAD5-A8D0-E1F7-7E24-05671B4B0F9E}"/>
            </ac:spMkLst>
          </pc:spChg>
          <pc:spChg chg="mod">
            <ac:chgData name="van Leeuwen  Sara (VPPL)" userId="7a5f1df4-0dd0-4c9e-a72f-a035cf318af6" providerId="ADAL" clId="{7439252B-60B4-40D9-9D9B-2AD9ED49787B}" dt="2023-11-17T14:16:20.551" v="283" actId="790"/>
            <ac:spMkLst>
              <pc:docMk/>
              <pc:sldMasterMk cId="409606273" sldId="2147483648"/>
              <pc:sldLayoutMk cId="870631199" sldId="2147483670"/>
              <ac:spMk id="4" creationId="{67DB21BA-81C0-43DB-A42C-5F672DBC37F2}"/>
            </ac:spMkLst>
          </pc:spChg>
          <pc:spChg chg="mod">
            <ac:chgData name="van Leeuwen  Sara (VPPL)" userId="7a5f1df4-0dd0-4c9e-a72f-a035cf318af6" providerId="ADAL" clId="{7439252B-60B4-40D9-9D9B-2AD9ED49787B}" dt="2023-11-17T14:16:20.551" v="284" actId="790"/>
            <ac:spMkLst>
              <pc:docMk/>
              <pc:sldMasterMk cId="409606273" sldId="2147483648"/>
              <pc:sldLayoutMk cId="870631199" sldId="2147483670"/>
              <ac:spMk id="5" creationId="{1BC78786-28C3-4EAB-A3FC-1A4BFA8447EC}"/>
            </ac:spMkLst>
          </pc:spChg>
          <pc:spChg chg="mod">
            <ac:chgData name="van Leeuwen  Sara (VPPL)" userId="7a5f1df4-0dd0-4c9e-a72f-a035cf318af6" providerId="ADAL" clId="{7439252B-60B4-40D9-9D9B-2AD9ED49787B}" dt="2023-11-17T14:16:20.551" v="285" actId="790"/>
            <ac:spMkLst>
              <pc:docMk/>
              <pc:sldMasterMk cId="409606273" sldId="2147483648"/>
              <pc:sldLayoutMk cId="870631199" sldId="2147483670"/>
              <ac:spMk id="6" creationId="{0FC1D5C1-A4AD-42D4-93B7-D3B71140E3A1}"/>
            </ac:spMkLst>
          </pc:spChg>
          <pc:spChg chg="mod">
            <ac:chgData name="van Leeuwen  Sara (VPPL)" userId="7a5f1df4-0dd0-4c9e-a72f-a035cf318af6" providerId="ADAL" clId="{7439252B-60B4-40D9-9D9B-2AD9ED49787B}" dt="2023-11-17T14:16:20.551" v="286" actId="790"/>
            <ac:spMkLst>
              <pc:docMk/>
              <pc:sldMasterMk cId="409606273" sldId="2147483648"/>
              <pc:sldLayoutMk cId="870631199" sldId="2147483670"/>
              <ac:spMk id="11" creationId="{05941150-30DE-48F5-9038-0E82CD18DE28}"/>
            </ac:spMkLst>
          </pc:spChg>
          <pc:graphicFrameChg chg="mod">
            <ac:chgData name="van Leeuwen  Sara (VPPL)" userId="7a5f1df4-0dd0-4c9e-a72f-a035cf318af6" providerId="ADAL" clId="{7439252B-60B4-40D9-9D9B-2AD9ED49787B}" dt="2023-11-17T14:16:23.417" v="2525" actId="1076"/>
            <ac:graphicFrameMkLst>
              <pc:docMk/>
              <pc:sldMasterMk cId="409606273" sldId="2147483648"/>
              <pc:sldLayoutMk cId="870631199" sldId="2147483670"/>
              <ac:graphicFrameMk id="8" creationId="{4DC04BC0-B0BC-CB5C-89E8-82CAF84F6354}"/>
            </ac:graphicFrameMkLst>
          </pc:graphicFrameChg>
        </pc:sldLayoutChg>
        <pc:sldLayoutChg chg="modSp mod">
          <pc:chgData name="van Leeuwen  Sara (VPPL)" userId="7a5f1df4-0dd0-4c9e-a72f-a035cf318af6" providerId="ADAL" clId="{7439252B-60B4-40D9-9D9B-2AD9ED49787B}" dt="2023-11-17T14:16:23.417" v="2526" actId="1076"/>
          <pc:sldLayoutMkLst>
            <pc:docMk/>
            <pc:sldMasterMk cId="409606273" sldId="2147483648"/>
            <pc:sldLayoutMk cId="2996574597" sldId="2147483671"/>
          </pc:sldLayoutMkLst>
          <pc:spChg chg="mod">
            <ac:chgData name="van Leeuwen  Sara (VPPL)" userId="7a5f1df4-0dd0-4c9e-a72f-a035cf318af6" providerId="ADAL" clId="{7439252B-60B4-40D9-9D9B-2AD9ED49787B}" dt="2023-11-17T14:16:20.551" v="287" actId="790"/>
            <ac:spMkLst>
              <pc:docMk/>
              <pc:sldMasterMk cId="409606273" sldId="2147483648"/>
              <pc:sldLayoutMk cId="2996574597" sldId="2147483671"/>
              <ac:spMk id="4" creationId="{67DB21BA-81C0-43DB-A42C-5F672DBC37F2}"/>
            </ac:spMkLst>
          </pc:spChg>
          <pc:spChg chg="mod">
            <ac:chgData name="van Leeuwen  Sara (VPPL)" userId="7a5f1df4-0dd0-4c9e-a72f-a035cf318af6" providerId="ADAL" clId="{7439252B-60B4-40D9-9D9B-2AD9ED49787B}" dt="2023-11-17T14:16:20.567" v="288" actId="790"/>
            <ac:spMkLst>
              <pc:docMk/>
              <pc:sldMasterMk cId="409606273" sldId="2147483648"/>
              <pc:sldLayoutMk cId="2996574597" sldId="2147483671"/>
              <ac:spMk id="5" creationId="{1BC78786-28C3-4EAB-A3FC-1A4BFA8447EC}"/>
            </ac:spMkLst>
          </pc:spChg>
          <pc:spChg chg="mod">
            <ac:chgData name="van Leeuwen  Sara (VPPL)" userId="7a5f1df4-0dd0-4c9e-a72f-a035cf318af6" providerId="ADAL" clId="{7439252B-60B4-40D9-9D9B-2AD9ED49787B}" dt="2023-11-17T14:16:20.567" v="289" actId="790"/>
            <ac:spMkLst>
              <pc:docMk/>
              <pc:sldMasterMk cId="409606273" sldId="2147483648"/>
              <pc:sldLayoutMk cId="2996574597" sldId="2147483671"/>
              <ac:spMk id="6" creationId="{0FC1D5C1-A4AD-42D4-93B7-D3B71140E3A1}"/>
            </ac:spMkLst>
          </pc:spChg>
          <pc:spChg chg="mod">
            <ac:chgData name="van Leeuwen  Sara (VPPL)" userId="7a5f1df4-0dd0-4c9e-a72f-a035cf318af6" providerId="ADAL" clId="{7439252B-60B4-40D9-9D9B-2AD9ED49787B}" dt="2023-11-17T14:16:20.567" v="290" actId="790"/>
            <ac:spMkLst>
              <pc:docMk/>
              <pc:sldMasterMk cId="409606273" sldId="2147483648"/>
              <pc:sldLayoutMk cId="2996574597" sldId="2147483671"/>
              <ac:spMk id="11" creationId="{05941150-30DE-48F5-9038-0E82CD18DE28}"/>
            </ac:spMkLst>
          </pc:spChg>
          <pc:graphicFrameChg chg="mod">
            <ac:chgData name="van Leeuwen  Sara (VPPL)" userId="7a5f1df4-0dd0-4c9e-a72f-a035cf318af6" providerId="ADAL" clId="{7439252B-60B4-40D9-9D9B-2AD9ED49787B}" dt="2023-11-17T14:16:23.417" v="2526" actId="1076"/>
            <ac:graphicFrameMkLst>
              <pc:docMk/>
              <pc:sldMasterMk cId="409606273" sldId="2147483648"/>
              <pc:sldLayoutMk cId="2996574597" sldId="2147483671"/>
              <ac:graphicFrameMk id="2" creationId="{A153FE21-E72D-06E4-7A05-286D3BCEADDB}"/>
            </ac:graphicFrameMkLst>
          </pc:graphicFrameChg>
        </pc:sldLayoutChg>
        <pc:sldLayoutChg chg="delSp modSp mod">
          <pc:chgData name="van Leeuwen  Sara (VPPL)" userId="7a5f1df4-0dd0-4c9e-a72f-a035cf318af6" providerId="ADAL" clId="{7439252B-60B4-40D9-9D9B-2AD9ED49787B}" dt="2023-11-17T14:16:23.473" v="2576" actId="1076"/>
          <pc:sldLayoutMkLst>
            <pc:docMk/>
            <pc:sldMasterMk cId="409606273" sldId="2147483648"/>
            <pc:sldLayoutMk cId="3030196718" sldId="2147483672"/>
          </pc:sldLayoutMkLst>
          <pc:spChg chg="mod">
            <ac:chgData name="van Leeuwen  Sara (VPPL)" userId="7a5f1df4-0dd0-4c9e-a72f-a035cf318af6" providerId="ADAL" clId="{7439252B-60B4-40D9-9D9B-2AD9ED49787B}" dt="2023-11-17T14:16:22.861" v="1913" actId="948"/>
            <ac:spMkLst>
              <pc:docMk/>
              <pc:sldMasterMk cId="409606273" sldId="2147483648"/>
              <pc:sldLayoutMk cId="3030196718" sldId="2147483672"/>
              <ac:spMk id="2" creationId="{3346F7F9-CBC8-4641-B12B-7E76FD213E12}"/>
            </ac:spMkLst>
          </pc:spChg>
          <pc:spChg chg="mod">
            <ac:chgData name="van Leeuwen  Sara (VPPL)" userId="7a5f1df4-0dd0-4c9e-a72f-a035cf318af6" providerId="ADAL" clId="{7439252B-60B4-40D9-9D9B-2AD9ED49787B}" dt="2023-11-17T14:16:20.943" v="441" actId="790"/>
            <ac:spMkLst>
              <pc:docMk/>
              <pc:sldMasterMk cId="409606273" sldId="2147483648"/>
              <pc:sldLayoutMk cId="3030196718" sldId="2147483672"/>
              <ac:spMk id="3" creationId="{87D3E2EF-5F98-49EC-BCEA-B215D49920A3}"/>
            </ac:spMkLst>
          </pc:spChg>
          <pc:spChg chg="mod">
            <ac:chgData name="van Leeuwen  Sara (VPPL)" userId="7a5f1df4-0dd0-4c9e-a72f-a035cf318af6" providerId="ADAL" clId="{7439252B-60B4-40D9-9D9B-2AD9ED49787B}" dt="2023-11-17T14:16:20.943" v="442" actId="790"/>
            <ac:spMkLst>
              <pc:docMk/>
              <pc:sldMasterMk cId="409606273" sldId="2147483648"/>
              <pc:sldLayoutMk cId="3030196718" sldId="2147483672"/>
              <ac:spMk id="4" creationId="{67DB21BA-81C0-43DB-A42C-5F672DBC37F2}"/>
            </ac:spMkLst>
          </pc:spChg>
          <pc:spChg chg="mod">
            <ac:chgData name="van Leeuwen  Sara (VPPL)" userId="7a5f1df4-0dd0-4c9e-a72f-a035cf318af6" providerId="ADAL" clId="{7439252B-60B4-40D9-9D9B-2AD9ED49787B}" dt="2023-11-17T14:16:20.943" v="443" actId="790"/>
            <ac:spMkLst>
              <pc:docMk/>
              <pc:sldMasterMk cId="409606273" sldId="2147483648"/>
              <pc:sldLayoutMk cId="3030196718" sldId="2147483672"/>
              <ac:spMk id="5" creationId="{1BC78786-28C3-4EAB-A3FC-1A4BFA8447EC}"/>
            </ac:spMkLst>
          </pc:spChg>
          <pc:spChg chg="mod">
            <ac:chgData name="van Leeuwen  Sara (VPPL)" userId="7a5f1df4-0dd0-4c9e-a72f-a035cf318af6" providerId="ADAL" clId="{7439252B-60B4-40D9-9D9B-2AD9ED49787B}" dt="2023-11-17T14:16:20.943" v="444" actId="790"/>
            <ac:spMkLst>
              <pc:docMk/>
              <pc:sldMasterMk cId="409606273" sldId="2147483648"/>
              <pc:sldLayoutMk cId="3030196718" sldId="2147483672"/>
              <ac:spMk id="6" creationId="{0FC1D5C1-A4AD-42D4-93B7-D3B71140E3A1}"/>
            </ac:spMkLst>
          </pc:spChg>
          <pc:spChg chg="del mod modVis">
            <ac:chgData name="van Leeuwen  Sara (VPPL)" userId="7a5f1df4-0dd0-4c9e-a72f-a035cf318af6" providerId="ADAL" clId="{7439252B-60B4-40D9-9D9B-2AD9ED49787B}" dt="2023-11-17T14:16:23.473" v="2575" actId="478"/>
            <ac:spMkLst>
              <pc:docMk/>
              <pc:sldMasterMk cId="409606273" sldId="2147483648"/>
              <pc:sldLayoutMk cId="3030196718" sldId="2147483672"/>
              <ac:spMk id="8" creationId="{133C00CF-5BE8-D6A9-E409-3217D3939EE2}"/>
            </ac:spMkLst>
          </pc:spChg>
          <pc:spChg chg="mod">
            <ac:chgData name="van Leeuwen  Sara (VPPL)" userId="7a5f1df4-0dd0-4c9e-a72f-a035cf318af6" providerId="ADAL" clId="{7439252B-60B4-40D9-9D9B-2AD9ED49787B}" dt="2023-11-17T14:16:20.943" v="445" actId="790"/>
            <ac:spMkLst>
              <pc:docMk/>
              <pc:sldMasterMk cId="409606273" sldId="2147483648"/>
              <pc:sldLayoutMk cId="3030196718" sldId="2147483672"/>
              <ac:spMk id="11" creationId="{221A3BAE-B19D-4390-B4A5-2C8A2CC87C59}"/>
            </ac:spMkLst>
          </pc:spChg>
          <pc:graphicFrameChg chg="mod">
            <ac:chgData name="van Leeuwen  Sara (VPPL)" userId="7a5f1df4-0dd0-4c9e-a72f-a035cf318af6" providerId="ADAL" clId="{7439252B-60B4-40D9-9D9B-2AD9ED49787B}" dt="2023-11-17T14:16:23.473" v="2576" actId="1076"/>
            <ac:graphicFrameMkLst>
              <pc:docMk/>
              <pc:sldMasterMk cId="409606273" sldId="2147483648"/>
              <pc:sldLayoutMk cId="3030196718" sldId="2147483672"/>
              <ac:graphicFrameMk id="9" creationId="{F34FDD1A-9E9C-43F8-49EE-611996F4D8DC}"/>
            </ac:graphicFrameMkLst>
          </pc:graphicFrameChg>
        </pc:sldLayoutChg>
        <pc:sldLayoutChg chg="delSp modSp mod">
          <pc:chgData name="van Leeuwen  Sara (VPPL)" userId="7a5f1df4-0dd0-4c9e-a72f-a035cf318af6" providerId="ADAL" clId="{7439252B-60B4-40D9-9D9B-2AD9ED49787B}" dt="2023-11-17T14:16:23.473" v="2578" actId="1076"/>
          <pc:sldLayoutMkLst>
            <pc:docMk/>
            <pc:sldMasterMk cId="409606273" sldId="2147483648"/>
            <pc:sldLayoutMk cId="3016386643" sldId="2147483673"/>
          </pc:sldLayoutMkLst>
          <pc:spChg chg="mod">
            <ac:chgData name="van Leeuwen  Sara (VPPL)" userId="7a5f1df4-0dd0-4c9e-a72f-a035cf318af6" providerId="ADAL" clId="{7439252B-60B4-40D9-9D9B-2AD9ED49787B}" dt="2023-11-17T14:16:22.876" v="1931" actId="948"/>
            <ac:spMkLst>
              <pc:docMk/>
              <pc:sldMasterMk cId="409606273" sldId="2147483648"/>
              <pc:sldLayoutMk cId="3016386643" sldId="2147483673"/>
              <ac:spMk id="2" creationId="{3346F7F9-CBC8-4641-B12B-7E76FD213E12}"/>
            </ac:spMkLst>
          </pc:spChg>
          <pc:spChg chg="mod">
            <ac:chgData name="van Leeuwen  Sara (VPPL)" userId="7a5f1df4-0dd0-4c9e-a72f-a035cf318af6" providerId="ADAL" clId="{7439252B-60B4-40D9-9D9B-2AD9ED49787B}" dt="2023-11-17T14:16:20.959" v="447" actId="790"/>
            <ac:spMkLst>
              <pc:docMk/>
              <pc:sldMasterMk cId="409606273" sldId="2147483648"/>
              <pc:sldLayoutMk cId="3016386643" sldId="2147483673"/>
              <ac:spMk id="3" creationId="{87D3E2EF-5F98-49EC-BCEA-B215D49920A3}"/>
            </ac:spMkLst>
          </pc:spChg>
          <pc:spChg chg="mod">
            <ac:chgData name="van Leeuwen  Sara (VPPL)" userId="7a5f1df4-0dd0-4c9e-a72f-a035cf318af6" providerId="ADAL" clId="{7439252B-60B4-40D9-9D9B-2AD9ED49787B}" dt="2023-11-17T14:16:20.959" v="448" actId="790"/>
            <ac:spMkLst>
              <pc:docMk/>
              <pc:sldMasterMk cId="409606273" sldId="2147483648"/>
              <pc:sldLayoutMk cId="3016386643" sldId="2147483673"/>
              <ac:spMk id="4" creationId="{67DB21BA-81C0-43DB-A42C-5F672DBC37F2}"/>
            </ac:spMkLst>
          </pc:spChg>
          <pc:spChg chg="mod">
            <ac:chgData name="van Leeuwen  Sara (VPPL)" userId="7a5f1df4-0dd0-4c9e-a72f-a035cf318af6" providerId="ADAL" clId="{7439252B-60B4-40D9-9D9B-2AD9ED49787B}" dt="2023-11-17T14:16:20.959" v="449" actId="790"/>
            <ac:spMkLst>
              <pc:docMk/>
              <pc:sldMasterMk cId="409606273" sldId="2147483648"/>
              <pc:sldLayoutMk cId="3016386643" sldId="2147483673"/>
              <ac:spMk id="5" creationId="{1BC78786-28C3-4EAB-A3FC-1A4BFA8447EC}"/>
            </ac:spMkLst>
          </pc:spChg>
          <pc:spChg chg="mod">
            <ac:chgData name="van Leeuwen  Sara (VPPL)" userId="7a5f1df4-0dd0-4c9e-a72f-a035cf318af6" providerId="ADAL" clId="{7439252B-60B4-40D9-9D9B-2AD9ED49787B}" dt="2023-11-17T14:16:20.959" v="450" actId="790"/>
            <ac:spMkLst>
              <pc:docMk/>
              <pc:sldMasterMk cId="409606273" sldId="2147483648"/>
              <pc:sldLayoutMk cId="3016386643" sldId="2147483673"/>
              <ac:spMk id="6" creationId="{0FC1D5C1-A4AD-42D4-93B7-D3B71140E3A1}"/>
            </ac:spMkLst>
          </pc:spChg>
          <pc:spChg chg="del mod modVis">
            <ac:chgData name="van Leeuwen  Sara (VPPL)" userId="7a5f1df4-0dd0-4c9e-a72f-a035cf318af6" providerId="ADAL" clId="{7439252B-60B4-40D9-9D9B-2AD9ED49787B}" dt="2023-11-17T14:16:23.473" v="2577" actId="478"/>
            <ac:spMkLst>
              <pc:docMk/>
              <pc:sldMasterMk cId="409606273" sldId="2147483648"/>
              <pc:sldLayoutMk cId="3016386643" sldId="2147483673"/>
              <ac:spMk id="8" creationId="{247B572C-68E2-0ADA-803C-EEBD56BA40A2}"/>
            </ac:spMkLst>
          </pc:spChg>
          <pc:spChg chg="mod">
            <ac:chgData name="van Leeuwen  Sara (VPPL)" userId="7a5f1df4-0dd0-4c9e-a72f-a035cf318af6" providerId="ADAL" clId="{7439252B-60B4-40D9-9D9B-2AD9ED49787B}" dt="2023-11-17T14:16:20.975" v="452" actId="790"/>
            <ac:spMkLst>
              <pc:docMk/>
              <pc:sldMasterMk cId="409606273" sldId="2147483648"/>
              <pc:sldLayoutMk cId="3016386643" sldId="2147483673"/>
              <ac:spMk id="9" creationId="{1AAB6914-2518-430D-BF4C-14EA51B61410}"/>
            </ac:spMkLst>
          </pc:spChg>
          <pc:spChg chg="mod">
            <ac:chgData name="van Leeuwen  Sara (VPPL)" userId="7a5f1df4-0dd0-4c9e-a72f-a035cf318af6" providerId="ADAL" clId="{7439252B-60B4-40D9-9D9B-2AD9ED49787B}" dt="2023-11-17T14:16:20.959" v="451" actId="790"/>
            <ac:spMkLst>
              <pc:docMk/>
              <pc:sldMasterMk cId="409606273" sldId="2147483648"/>
              <pc:sldLayoutMk cId="3016386643" sldId="2147483673"/>
              <ac:spMk id="11" creationId="{221A3BAE-B19D-4390-B4A5-2C8A2CC87C59}"/>
            </ac:spMkLst>
          </pc:spChg>
          <pc:spChg chg="mod">
            <ac:chgData name="van Leeuwen  Sara (VPPL)" userId="7a5f1df4-0dd0-4c9e-a72f-a035cf318af6" providerId="ADAL" clId="{7439252B-60B4-40D9-9D9B-2AD9ED49787B}" dt="2023-11-17T14:16:20.975" v="453" actId="790"/>
            <ac:spMkLst>
              <pc:docMk/>
              <pc:sldMasterMk cId="409606273" sldId="2147483648"/>
              <pc:sldLayoutMk cId="3016386643" sldId="2147483673"/>
              <ac:spMk id="12" creationId="{5092EEFB-079B-4C38-A665-E52B9837601B}"/>
            </ac:spMkLst>
          </pc:spChg>
          <pc:graphicFrameChg chg="mod">
            <ac:chgData name="van Leeuwen  Sara (VPPL)" userId="7a5f1df4-0dd0-4c9e-a72f-a035cf318af6" providerId="ADAL" clId="{7439252B-60B4-40D9-9D9B-2AD9ED49787B}" dt="2023-11-17T14:16:23.473" v="2578" actId="1076"/>
            <ac:graphicFrameMkLst>
              <pc:docMk/>
              <pc:sldMasterMk cId="409606273" sldId="2147483648"/>
              <pc:sldLayoutMk cId="3016386643" sldId="2147483673"/>
              <ac:graphicFrameMk id="10" creationId="{FD8CE8ED-C5D7-2E67-6534-6EF93D703418}"/>
            </ac:graphicFrameMkLst>
          </pc:graphicFrameChg>
        </pc:sldLayoutChg>
        <pc:sldLayoutChg chg="delSp modSp mod">
          <pc:chgData name="van Leeuwen  Sara (VPPL)" userId="7a5f1df4-0dd0-4c9e-a72f-a035cf318af6" providerId="ADAL" clId="{7439252B-60B4-40D9-9D9B-2AD9ED49787B}" dt="2023-11-17T14:16:23.473" v="2580" actId="1076"/>
          <pc:sldLayoutMkLst>
            <pc:docMk/>
            <pc:sldMasterMk cId="409606273" sldId="2147483648"/>
            <pc:sldLayoutMk cId="2955461353" sldId="2147483674"/>
          </pc:sldLayoutMkLst>
          <pc:spChg chg="mod">
            <ac:chgData name="van Leeuwen  Sara (VPPL)" userId="7a5f1df4-0dd0-4c9e-a72f-a035cf318af6" providerId="ADAL" clId="{7439252B-60B4-40D9-9D9B-2AD9ED49787B}" dt="2023-11-17T14:16:22.892" v="1949" actId="948"/>
            <ac:spMkLst>
              <pc:docMk/>
              <pc:sldMasterMk cId="409606273" sldId="2147483648"/>
              <pc:sldLayoutMk cId="2955461353" sldId="2147483674"/>
              <ac:spMk id="2" creationId="{3346F7F9-CBC8-4641-B12B-7E76FD213E12}"/>
            </ac:spMkLst>
          </pc:spChg>
          <pc:spChg chg="mod">
            <ac:chgData name="van Leeuwen  Sara (VPPL)" userId="7a5f1df4-0dd0-4c9e-a72f-a035cf318af6" providerId="ADAL" clId="{7439252B-60B4-40D9-9D9B-2AD9ED49787B}" dt="2023-11-17T14:16:20.975" v="455" actId="790"/>
            <ac:spMkLst>
              <pc:docMk/>
              <pc:sldMasterMk cId="409606273" sldId="2147483648"/>
              <pc:sldLayoutMk cId="2955461353" sldId="2147483674"/>
              <ac:spMk id="3" creationId="{87D3E2EF-5F98-49EC-BCEA-B215D49920A3}"/>
            </ac:spMkLst>
          </pc:spChg>
          <pc:spChg chg="mod">
            <ac:chgData name="van Leeuwen  Sara (VPPL)" userId="7a5f1df4-0dd0-4c9e-a72f-a035cf318af6" providerId="ADAL" clId="{7439252B-60B4-40D9-9D9B-2AD9ED49787B}" dt="2023-11-17T14:16:20.975" v="456" actId="790"/>
            <ac:spMkLst>
              <pc:docMk/>
              <pc:sldMasterMk cId="409606273" sldId="2147483648"/>
              <pc:sldLayoutMk cId="2955461353" sldId="2147483674"/>
              <ac:spMk id="4" creationId="{67DB21BA-81C0-43DB-A42C-5F672DBC37F2}"/>
            </ac:spMkLst>
          </pc:spChg>
          <pc:spChg chg="mod">
            <ac:chgData name="van Leeuwen  Sara (VPPL)" userId="7a5f1df4-0dd0-4c9e-a72f-a035cf318af6" providerId="ADAL" clId="{7439252B-60B4-40D9-9D9B-2AD9ED49787B}" dt="2023-11-17T14:16:20.990" v="457" actId="790"/>
            <ac:spMkLst>
              <pc:docMk/>
              <pc:sldMasterMk cId="409606273" sldId="2147483648"/>
              <pc:sldLayoutMk cId="2955461353" sldId="2147483674"/>
              <ac:spMk id="5" creationId="{1BC78786-28C3-4EAB-A3FC-1A4BFA8447EC}"/>
            </ac:spMkLst>
          </pc:spChg>
          <pc:spChg chg="mod">
            <ac:chgData name="van Leeuwen  Sara (VPPL)" userId="7a5f1df4-0dd0-4c9e-a72f-a035cf318af6" providerId="ADAL" clId="{7439252B-60B4-40D9-9D9B-2AD9ED49787B}" dt="2023-11-17T14:16:20.990" v="458" actId="790"/>
            <ac:spMkLst>
              <pc:docMk/>
              <pc:sldMasterMk cId="409606273" sldId="2147483648"/>
              <pc:sldLayoutMk cId="2955461353" sldId="2147483674"/>
              <ac:spMk id="6" creationId="{0FC1D5C1-A4AD-42D4-93B7-D3B71140E3A1}"/>
            </ac:spMkLst>
          </pc:spChg>
          <pc:spChg chg="del mod modVis">
            <ac:chgData name="van Leeuwen  Sara (VPPL)" userId="7a5f1df4-0dd0-4c9e-a72f-a035cf318af6" providerId="ADAL" clId="{7439252B-60B4-40D9-9D9B-2AD9ED49787B}" dt="2023-11-17T14:16:23.473" v="2579" actId="478"/>
            <ac:spMkLst>
              <pc:docMk/>
              <pc:sldMasterMk cId="409606273" sldId="2147483648"/>
              <pc:sldLayoutMk cId="2955461353" sldId="2147483674"/>
              <ac:spMk id="8" creationId="{7D46F972-4449-FA9D-3BE8-65C17AA3FFD6}"/>
            </ac:spMkLst>
          </pc:spChg>
          <pc:spChg chg="mod">
            <ac:chgData name="van Leeuwen  Sara (VPPL)" userId="7a5f1df4-0dd0-4c9e-a72f-a035cf318af6" providerId="ADAL" clId="{7439252B-60B4-40D9-9D9B-2AD9ED49787B}" dt="2023-11-17T14:16:20.990" v="459" actId="790"/>
            <ac:spMkLst>
              <pc:docMk/>
              <pc:sldMasterMk cId="409606273" sldId="2147483648"/>
              <pc:sldLayoutMk cId="2955461353" sldId="2147483674"/>
              <ac:spMk id="11" creationId="{221A3BAE-B19D-4390-B4A5-2C8A2CC87C59}"/>
            </ac:spMkLst>
          </pc:spChg>
          <pc:spChg chg="mod">
            <ac:chgData name="van Leeuwen  Sara (VPPL)" userId="7a5f1df4-0dd0-4c9e-a72f-a035cf318af6" providerId="ADAL" clId="{7439252B-60B4-40D9-9D9B-2AD9ED49787B}" dt="2023-11-17T14:16:20.990" v="460" actId="790"/>
            <ac:spMkLst>
              <pc:docMk/>
              <pc:sldMasterMk cId="409606273" sldId="2147483648"/>
              <pc:sldLayoutMk cId="2955461353" sldId="2147483674"/>
              <ac:spMk id="13" creationId="{36793346-BF6B-42A8-ADE0-3AA3DC3B239A}"/>
            </ac:spMkLst>
          </pc:spChg>
          <pc:spChg chg="mod">
            <ac:chgData name="van Leeuwen  Sara (VPPL)" userId="7a5f1df4-0dd0-4c9e-a72f-a035cf318af6" providerId="ADAL" clId="{7439252B-60B4-40D9-9D9B-2AD9ED49787B}" dt="2023-11-17T14:16:20.990" v="461" actId="790"/>
            <ac:spMkLst>
              <pc:docMk/>
              <pc:sldMasterMk cId="409606273" sldId="2147483648"/>
              <pc:sldLayoutMk cId="2955461353" sldId="2147483674"/>
              <ac:spMk id="14" creationId="{FE637F68-618E-43EB-B240-4BFA26852FC5}"/>
            </ac:spMkLst>
          </pc:spChg>
          <pc:graphicFrameChg chg="mod">
            <ac:chgData name="van Leeuwen  Sara (VPPL)" userId="7a5f1df4-0dd0-4c9e-a72f-a035cf318af6" providerId="ADAL" clId="{7439252B-60B4-40D9-9D9B-2AD9ED49787B}" dt="2023-11-17T14:16:23.473" v="2580" actId="1076"/>
            <ac:graphicFrameMkLst>
              <pc:docMk/>
              <pc:sldMasterMk cId="409606273" sldId="2147483648"/>
              <pc:sldLayoutMk cId="2955461353" sldId="2147483674"/>
              <ac:graphicFrameMk id="9" creationId="{C7C215CA-7C36-65CF-4F4F-15FFDD722E3E}"/>
            </ac:graphicFrameMkLst>
          </pc:graphicFrameChg>
        </pc:sldLayoutChg>
        <pc:sldLayoutChg chg="delSp modSp mod">
          <pc:chgData name="van Leeuwen  Sara (VPPL)" userId="7a5f1df4-0dd0-4c9e-a72f-a035cf318af6" providerId="ADAL" clId="{7439252B-60B4-40D9-9D9B-2AD9ED49787B}" dt="2023-11-17T14:16:23.473" v="2582" actId="1076"/>
          <pc:sldLayoutMkLst>
            <pc:docMk/>
            <pc:sldMasterMk cId="409606273" sldId="2147483648"/>
            <pc:sldLayoutMk cId="2096750995" sldId="2147483675"/>
          </pc:sldLayoutMkLst>
          <pc:spChg chg="mod">
            <ac:chgData name="van Leeuwen  Sara (VPPL)" userId="7a5f1df4-0dd0-4c9e-a72f-a035cf318af6" providerId="ADAL" clId="{7439252B-60B4-40D9-9D9B-2AD9ED49787B}" dt="2023-11-17T14:16:22.907" v="1967" actId="948"/>
            <ac:spMkLst>
              <pc:docMk/>
              <pc:sldMasterMk cId="409606273" sldId="2147483648"/>
              <pc:sldLayoutMk cId="2096750995" sldId="2147483675"/>
              <ac:spMk id="2" creationId="{3346F7F9-CBC8-4641-B12B-7E76FD213E12}"/>
            </ac:spMkLst>
          </pc:spChg>
          <pc:spChg chg="mod">
            <ac:chgData name="van Leeuwen  Sara (VPPL)" userId="7a5f1df4-0dd0-4c9e-a72f-a035cf318af6" providerId="ADAL" clId="{7439252B-60B4-40D9-9D9B-2AD9ED49787B}" dt="2023-11-17T14:16:21.006" v="463" actId="790"/>
            <ac:spMkLst>
              <pc:docMk/>
              <pc:sldMasterMk cId="409606273" sldId="2147483648"/>
              <pc:sldLayoutMk cId="2096750995" sldId="2147483675"/>
              <ac:spMk id="3" creationId="{87D3E2EF-5F98-49EC-BCEA-B215D49920A3}"/>
            </ac:spMkLst>
          </pc:spChg>
          <pc:spChg chg="mod">
            <ac:chgData name="van Leeuwen  Sara (VPPL)" userId="7a5f1df4-0dd0-4c9e-a72f-a035cf318af6" providerId="ADAL" clId="{7439252B-60B4-40D9-9D9B-2AD9ED49787B}" dt="2023-11-17T14:16:21.006" v="464" actId="790"/>
            <ac:spMkLst>
              <pc:docMk/>
              <pc:sldMasterMk cId="409606273" sldId="2147483648"/>
              <pc:sldLayoutMk cId="2096750995" sldId="2147483675"/>
              <ac:spMk id="4" creationId="{67DB21BA-81C0-43DB-A42C-5F672DBC37F2}"/>
            </ac:spMkLst>
          </pc:spChg>
          <pc:spChg chg="mod">
            <ac:chgData name="van Leeuwen  Sara (VPPL)" userId="7a5f1df4-0dd0-4c9e-a72f-a035cf318af6" providerId="ADAL" clId="{7439252B-60B4-40D9-9D9B-2AD9ED49787B}" dt="2023-11-17T14:16:21.006" v="465" actId="790"/>
            <ac:spMkLst>
              <pc:docMk/>
              <pc:sldMasterMk cId="409606273" sldId="2147483648"/>
              <pc:sldLayoutMk cId="2096750995" sldId="2147483675"/>
              <ac:spMk id="5" creationId="{1BC78786-28C3-4EAB-A3FC-1A4BFA8447EC}"/>
            </ac:spMkLst>
          </pc:spChg>
          <pc:spChg chg="mod">
            <ac:chgData name="van Leeuwen  Sara (VPPL)" userId="7a5f1df4-0dd0-4c9e-a72f-a035cf318af6" providerId="ADAL" clId="{7439252B-60B4-40D9-9D9B-2AD9ED49787B}" dt="2023-11-17T14:16:21.014" v="466" actId="790"/>
            <ac:spMkLst>
              <pc:docMk/>
              <pc:sldMasterMk cId="409606273" sldId="2147483648"/>
              <pc:sldLayoutMk cId="2096750995" sldId="2147483675"/>
              <ac:spMk id="6" creationId="{0FC1D5C1-A4AD-42D4-93B7-D3B71140E3A1}"/>
            </ac:spMkLst>
          </pc:spChg>
          <pc:spChg chg="del mod modVis">
            <ac:chgData name="van Leeuwen  Sara (VPPL)" userId="7a5f1df4-0dd0-4c9e-a72f-a035cf318af6" providerId="ADAL" clId="{7439252B-60B4-40D9-9D9B-2AD9ED49787B}" dt="2023-11-17T14:16:23.473" v="2581" actId="478"/>
            <ac:spMkLst>
              <pc:docMk/>
              <pc:sldMasterMk cId="409606273" sldId="2147483648"/>
              <pc:sldLayoutMk cId="2096750995" sldId="2147483675"/>
              <ac:spMk id="8" creationId="{309E1231-9BC2-57D1-92DE-E9013108A71D}"/>
            </ac:spMkLst>
          </pc:spChg>
          <pc:spChg chg="mod">
            <ac:chgData name="van Leeuwen  Sara (VPPL)" userId="7a5f1df4-0dd0-4c9e-a72f-a035cf318af6" providerId="ADAL" clId="{7439252B-60B4-40D9-9D9B-2AD9ED49787B}" dt="2023-11-17T14:16:21.014" v="467" actId="790"/>
            <ac:spMkLst>
              <pc:docMk/>
              <pc:sldMasterMk cId="409606273" sldId="2147483648"/>
              <pc:sldLayoutMk cId="2096750995" sldId="2147483675"/>
              <ac:spMk id="9" creationId="{A1D947E6-CC00-458E-BDE1-B0877E30333C}"/>
            </ac:spMkLst>
          </pc:spChg>
          <pc:graphicFrameChg chg="mod">
            <ac:chgData name="van Leeuwen  Sara (VPPL)" userId="7a5f1df4-0dd0-4c9e-a72f-a035cf318af6" providerId="ADAL" clId="{7439252B-60B4-40D9-9D9B-2AD9ED49787B}" dt="2023-11-17T14:16:23.473" v="2582" actId="1076"/>
            <ac:graphicFrameMkLst>
              <pc:docMk/>
              <pc:sldMasterMk cId="409606273" sldId="2147483648"/>
              <pc:sldLayoutMk cId="2096750995" sldId="2147483675"/>
              <ac:graphicFrameMk id="10" creationId="{899DC44F-C574-5B2D-93A0-C3BBD5A7F4C4}"/>
            </ac:graphicFrameMkLst>
          </pc:graphicFrameChg>
        </pc:sldLayoutChg>
        <pc:sldLayoutChg chg="modSp mod">
          <pc:chgData name="van Leeuwen  Sara (VPPL)" userId="7a5f1df4-0dd0-4c9e-a72f-a035cf318af6" providerId="ADAL" clId="{7439252B-60B4-40D9-9D9B-2AD9ED49787B}" dt="2023-11-17T14:16:23.489" v="2584" actId="1076"/>
          <pc:sldLayoutMkLst>
            <pc:docMk/>
            <pc:sldMasterMk cId="409606273" sldId="2147483648"/>
            <pc:sldLayoutMk cId="3039831707" sldId="2147483676"/>
          </pc:sldLayoutMkLst>
          <pc:spChg chg="mod">
            <ac:chgData name="van Leeuwen  Sara (VPPL)" userId="7a5f1df4-0dd0-4c9e-a72f-a035cf318af6" providerId="ADAL" clId="{7439252B-60B4-40D9-9D9B-2AD9ED49787B}" dt="2023-11-17T14:16:21.022" v="472" actId="790"/>
            <ac:spMkLst>
              <pc:docMk/>
              <pc:sldMasterMk cId="409606273" sldId="2147483648"/>
              <pc:sldLayoutMk cId="3039831707" sldId="2147483676"/>
              <ac:spMk id="20" creationId="{394B20FF-3667-40DF-92A1-C6CF3BBCA26D}"/>
            </ac:spMkLst>
          </pc:spChg>
          <pc:spChg chg="mod">
            <ac:chgData name="van Leeuwen  Sara (VPPL)" userId="7a5f1df4-0dd0-4c9e-a72f-a035cf318af6" providerId="ADAL" clId="{7439252B-60B4-40D9-9D9B-2AD9ED49787B}" dt="2023-11-17T14:16:21.022" v="473" actId="790"/>
            <ac:spMkLst>
              <pc:docMk/>
              <pc:sldMasterMk cId="409606273" sldId="2147483648"/>
              <pc:sldLayoutMk cId="3039831707" sldId="2147483676"/>
              <ac:spMk id="21" creationId="{794484F1-3B7F-46CE-AD0B-2310A557A990}"/>
            </ac:spMkLst>
          </pc:spChg>
          <pc:graphicFrameChg chg="mod">
            <ac:chgData name="van Leeuwen  Sara (VPPL)" userId="7a5f1df4-0dd0-4c9e-a72f-a035cf318af6" providerId="ADAL" clId="{7439252B-60B4-40D9-9D9B-2AD9ED49787B}" dt="2023-11-17T14:16:23.489" v="2584" actId="1076"/>
            <ac:graphicFrameMkLst>
              <pc:docMk/>
              <pc:sldMasterMk cId="409606273" sldId="2147483648"/>
              <pc:sldLayoutMk cId="3039831707" sldId="2147483676"/>
              <ac:graphicFrameMk id="2" creationId="{7F5A84A5-5D39-FE48-9BDA-C1D259F9FD3D}"/>
            </ac:graphicFrameMkLst>
          </pc:graphicFrameChg>
        </pc:sldLayoutChg>
        <pc:sldLayoutChg chg="delSp modSp mod">
          <pc:chgData name="van Leeuwen  Sara (VPPL)" userId="7a5f1df4-0dd0-4c9e-a72f-a035cf318af6" providerId="ADAL" clId="{7439252B-60B4-40D9-9D9B-2AD9ED49787B}" dt="2023-11-17T14:16:23.458" v="2558" actId="1076"/>
          <pc:sldLayoutMkLst>
            <pc:docMk/>
            <pc:sldMasterMk cId="409606273" sldId="2147483648"/>
            <pc:sldLayoutMk cId="2582942470" sldId="2147483678"/>
          </pc:sldLayoutMkLst>
          <pc:spChg chg="mod">
            <ac:chgData name="van Leeuwen  Sara (VPPL)" userId="7a5f1df4-0dd0-4c9e-a72f-a035cf318af6" providerId="ADAL" clId="{7439252B-60B4-40D9-9D9B-2AD9ED49787B}" dt="2023-11-17T14:16:22.703" v="1751" actId="948"/>
            <ac:spMkLst>
              <pc:docMk/>
              <pc:sldMasterMk cId="409606273" sldId="2147483648"/>
              <pc:sldLayoutMk cId="2582942470" sldId="2147483678"/>
              <ac:spMk id="2" creationId="{3491294E-BEE7-4DA8-BBC8-88E1A7B07AEF}"/>
            </ac:spMkLst>
          </pc:spChg>
          <pc:spChg chg="del mod modVis">
            <ac:chgData name="van Leeuwen  Sara (VPPL)" userId="7a5f1df4-0dd0-4c9e-a72f-a035cf318af6" providerId="ADAL" clId="{7439252B-60B4-40D9-9D9B-2AD9ED49787B}" dt="2023-11-17T14:16:23.442" v="2557" actId="478"/>
            <ac:spMkLst>
              <pc:docMk/>
              <pc:sldMasterMk cId="409606273" sldId="2147483648"/>
              <pc:sldLayoutMk cId="2582942470" sldId="2147483678"/>
              <ac:spMk id="3" creationId="{E4D38B51-8894-935B-CF5A-C1752FAA4A54}"/>
            </ac:spMkLst>
          </pc:spChg>
          <pc:spChg chg="mod">
            <ac:chgData name="van Leeuwen  Sara (VPPL)" userId="7a5f1df4-0dd0-4c9e-a72f-a035cf318af6" providerId="ADAL" clId="{7439252B-60B4-40D9-9D9B-2AD9ED49787B}" dt="2023-11-17T14:16:20.818" v="397" actId="790"/>
            <ac:spMkLst>
              <pc:docMk/>
              <pc:sldMasterMk cId="409606273" sldId="2147483648"/>
              <pc:sldLayoutMk cId="2582942470" sldId="2147483678"/>
              <ac:spMk id="4" creationId="{EE41BE31-9613-4103-99FF-7DCFF643B329}"/>
            </ac:spMkLst>
          </pc:spChg>
          <pc:spChg chg="mod">
            <ac:chgData name="van Leeuwen  Sara (VPPL)" userId="7a5f1df4-0dd0-4c9e-a72f-a035cf318af6" providerId="ADAL" clId="{7439252B-60B4-40D9-9D9B-2AD9ED49787B}" dt="2023-11-17T14:16:20.818" v="394" actId="790"/>
            <ac:spMkLst>
              <pc:docMk/>
              <pc:sldMasterMk cId="409606273" sldId="2147483648"/>
              <pc:sldLayoutMk cId="2582942470" sldId="2147483678"/>
              <ac:spMk id="5" creationId="{EB061823-3F7A-48C8-8477-B410C18AC1B7}"/>
            </ac:spMkLst>
          </pc:spChg>
          <pc:spChg chg="mod">
            <ac:chgData name="van Leeuwen  Sara (VPPL)" userId="7a5f1df4-0dd0-4c9e-a72f-a035cf318af6" providerId="ADAL" clId="{7439252B-60B4-40D9-9D9B-2AD9ED49787B}" dt="2023-11-17T14:16:20.818" v="398" actId="790"/>
            <ac:spMkLst>
              <pc:docMk/>
              <pc:sldMasterMk cId="409606273" sldId="2147483648"/>
              <pc:sldLayoutMk cId="2582942470" sldId="2147483678"/>
              <ac:spMk id="6" creationId="{EDEB298C-798E-4D73-9DD6-F896C06530C1}"/>
            </ac:spMkLst>
          </pc:spChg>
          <pc:spChg chg="mod">
            <ac:chgData name="van Leeuwen  Sara (VPPL)" userId="7a5f1df4-0dd0-4c9e-a72f-a035cf318af6" providerId="ADAL" clId="{7439252B-60B4-40D9-9D9B-2AD9ED49787B}" dt="2023-11-17T14:16:20.818" v="396" actId="790"/>
            <ac:spMkLst>
              <pc:docMk/>
              <pc:sldMasterMk cId="409606273" sldId="2147483648"/>
              <pc:sldLayoutMk cId="2582942470" sldId="2147483678"/>
              <ac:spMk id="9" creationId="{C3C296D1-2CD0-479F-A866-6EC741D2293B}"/>
            </ac:spMkLst>
          </pc:spChg>
          <pc:graphicFrameChg chg="mod">
            <ac:chgData name="van Leeuwen  Sara (VPPL)" userId="7a5f1df4-0dd0-4c9e-a72f-a035cf318af6" providerId="ADAL" clId="{7439252B-60B4-40D9-9D9B-2AD9ED49787B}" dt="2023-11-17T14:16:23.458" v="2558" actId="1076"/>
            <ac:graphicFrameMkLst>
              <pc:docMk/>
              <pc:sldMasterMk cId="409606273" sldId="2147483648"/>
              <pc:sldLayoutMk cId="2582942470" sldId="2147483678"/>
              <ac:graphicFrameMk id="7" creationId="{B07E5EDB-4F3E-683F-C9F4-54873E5EF298}"/>
            </ac:graphicFrameMkLst>
          </pc:graphicFrameChg>
        </pc:sldLayoutChg>
        <pc:sldLayoutChg chg="delSp modSp mod">
          <pc:chgData name="van Leeuwen  Sara (VPPL)" userId="7a5f1df4-0dd0-4c9e-a72f-a035cf318af6" providerId="ADAL" clId="{7439252B-60B4-40D9-9D9B-2AD9ED49787B}" dt="2023-11-17T14:16:23.458" v="2560" actId="1076"/>
          <pc:sldLayoutMkLst>
            <pc:docMk/>
            <pc:sldMasterMk cId="409606273" sldId="2147483648"/>
            <pc:sldLayoutMk cId="2745712561" sldId="2147483679"/>
          </pc:sldLayoutMkLst>
          <pc:spChg chg="mod">
            <ac:chgData name="van Leeuwen  Sara (VPPL)" userId="7a5f1df4-0dd0-4c9e-a72f-a035cf318af6" providerId="ADAL" clId="{7439252B-60B4-40D9-9D9B-2AD9ED49787B}" dt="2023-11-17T14:16:22.719" v="1769" actId="948"/>
            <ac:spMkLst>
              <pc:docMk/>
              <pc:sldMasterMk cId="409606273" sldId="2147483648"/>
              <pc:sldLayoutMk cId="2745712561" sldId="2147483679"/>
              <ac:spMk id="2" creationId="{3491294E-BEE7-4DA8-BBC8-88E1A7B07AEF}"/>
            </ac:spMkLst>
          </pc:spChg>
          <pc:spChg chg="del mod modVis">
            <ac:chgData name="van Leeuwen  Sara (VPPL)" userId="7a5f1df4-0dd0-4c9e-a72f-a035cf318af6" providerId="ADAL" clId="{7439252B-60B4-40D9-9D9B-2AD9ED49787B}" dt="2023-11-17T14:16:23.458" v="2559" actId="478"/>
            <ac:spMkLst>
              <pc:docMk/>
              <pc:sldMasterMk cId="409606273" sldId="2147483648"/>
              <pc:sldLayoutMk cId="2745712561" sldId="2147483679"/>
              <ac:spMk id="3" creationId="{CAF7A4C1-2C6F-B507-9977-3FFC26DAD0B7}"/>
            </ac:spMkLst>
          </pc:spChg>
          <pc:spChg chg="mod">
            <ac:chgData name="van Leeuwen  Sara (VPPL)" userId="7a5f1df4-0dd0-4c9e-a72f-a035cf318af6" providerId="ADAL" clId="{7439252B-60B4-40D9-9D9B-2AD9ED49787B}" dt="2023-11-17T14:16:20.834" v="403" actId="790"/>
            <ac:spMkLst>
              <pc:docMk/>
              <pc:sldMasterMk cId="409606273" sldId="2147483648"/>
              <pc:sldLayoutMk cId="2745712561" sldId="2147483679"/>
              <ac:spMk id="8" creationId="{547D2927-4A99-4714-8EBA-F773EAA26308}"/>
            </ac:spMkLst>
          </pc:spChg>
          <pc:spChg chg="mod">
            <ac:chgData name="van Leeuwen  Sara (VPPL)" userId="7a5f1df4-0dd0-4c9e-a72f-a035cf318af6" providerId="ADAL" clId="{7439252B-60B4-40D9-9D9B-2AD9ED49787B}" dt="2023-11-17T14:16:20.834" v="401" actId="790"/>
            <ac:spMkLst>
              <pc:docMk/>
              <pc:sldMasterMk cId="409606273" sldId="2147483648"/>
              <pc:sldLayoutMk cId="2745712561" sldId="2147483679"/>
              <ac:spMk id="9" creationId="{003A487C-8977-4264-A8A1-D6C1DB604682}"/>
            </ac:spMkLst>
          </pc:spChg>
          <pc:spChg chg="mod">
            <ac:chgData name="van Leeuwen  Sara (VPPL)" userId="7a5f1df4-0dd0-4c9e-a72f-a035cf318af6" providerId="ADAL" clId="{7439252B-60B4-40D9-9D9B-2AD9ED49787B}" dt="2023-11-17T14:16:20.834" v="399" actId="790"/>
            <ac:spMkLst>
              <pc:docMk/>
              <pc:sldMasterMk cId="409606273" sldId="2147483648"/>
              <pc:sldLayoutMk cId="2745712561" sldId="2147483679"/>
              <ac:spMk id="11" creationId="{8A01615F-450E-43D0-B554-DA3FBD48DF34}"/>
            </ac:spMkLst>
          </pc:spChg>
          <pc:spChg chg="mod">
            <ac:chgData name="van Leeuwen  Sara (VPPL)" userId="7a5f1df4-0dd0-4c9e-a72f-a035cf318af6" providerId="ADAL" clId="{7439252B-60B4-40D9-9D9B-2AD9ED49787B}" dt="2023-11-17T14:16:20.834" v="402" actId="790"/>
            <ac:spMkLst>
              <pc:docMk/>
              <pc:sldMasterMk cId="409606273" sldId="2147483648"/>
              <pc:sldLayoutMk cId="2745712561" sldId="2147483679"/>
              <ac:spMk id="13" creationId="{E91D3734-CD8F-4F94-A813-570EF31C4732}"/>
            </ac:spMkLst>
          </pc:spChg>
          <pc:graphicFrameChg chg="mod">
            <ac:chgData name="van Leeuwen  Sara (VPPL)" userId="7a5f1df4-0dd0-4c9e-a72f-a035cf318af6" providerId="ADAL" clId="{7439252B-60B4-40D9-9D9B-2AD9ED49787B}" dt="2023-11-17T14:16:23.458" v="2560" actId="1076"/>
            <ac:graphicFrameMkLst>
              <pc:docMk/>
              <pc:sldMasterMk cId="409606273" sldId="2147483648"/>
              <pc:sldLayoutMk cId="2745712561" sldId="2147483679"/>
              <ac:graphicFrameMk id="4" creationId="{71D032AB-E3F2-C9C2-3D41-29B4E131A95C}"/>
            </ac:graphicFrameMkLst>
          </pc:graphicFrameChg>
        </pc:sldLayoutChg>
        <pc:sldLayoutChg chg="delSp modSp mod">
          <pc:chgData name="van Leeuwen  Sara (VPPL)" userId="7a5f1df4-0dd0-4c9e-a72f-a035cf318af6" providerId="ADAL" clId="{7439252B-60B4-40D9-9D9B-2AD9ED49787B}" dt="2023-11-17T14:16:23.458" v="2562" actId="1076"/>
          <pc:sldLayoutMkLst>
            <pc:docMk/>
            <pc:sldMasterMk cId="409606273" sldId="2147483648"/>
            <pc:sldLayoutMk cId="1333595292" sldId="2147483680"/>
          </pc:sldLayoutMkLst>
          <pc:spChg chg="mod">
            <ac:chgData name="van Leeuwen  Sara (VPPL)" userId="7a5f1df4-0dd0-4c9e-a72f-a035cf318af6" providerId="ADAL" clId="{7439252B-60B4-40D9-9D9B-2AD9ED49787B}" dt="2023-11-17T14:16:22.735" v="1787" actId="948"/>
            <ac:spMkLst>
              <pc:docMk/>
              <pc:sldMasterMk cId="409606273" sldId="2147483648"/>
              <pc:sldLayoutMk cId="1333595292" sldId="2147483680"/>
              <ac:spMk id="2" creationId="{3491294E-BEE7-4DA8-BBC8-88E1A7B07AEF}"/>
            </ac:spMkLst>
          </pc:spChg>
          <pc:spChg chg="mod">
            <ac:chgData name="van Leeuwen  Sara (VPPL)" userId="7a5f1df4-0dd0-4c9e-a72f-a035cf318af6" providerId="ADAL" clId="{7439252B-60B4-40D9-9D9B-2AD9ED49787B}" dt="2023-11-17T14:16:20.834" v="405" actId="947"/>
            <ac:spMkLst>
              <pc:docMk/>
              <pc:sldMasterMk cId="409606273" sldId="2147483648"/>
              <pc:sldLayoutMk cId="1333595292" sldId="2147483680"/>
              <ac:spMk id="3" creationId="{62D94F76-218E-49F2-87F8-05982912ED18}"/>
            </ac:spMkLst>
          </pc:spChg>
          <pc:spChg chg="del mod modVis">
            <ac:chgData name="van Leeuwen  Sara (VPPL)" userId="7a5f1df4-0dd0-4c9e-a72f-a035cf318af6" providerId="ADAL" clId="{7439252B-60B4-40D9-9D9B-2AD9ED49787B}" dt="2023-11-17T14:16:23.458" v="2561" actId="478"/>
            <ac:spMkLst>
              <pc:docMk/>
              <pc:sldMasterMk cId="409606273" sldId="2147483648"/>
              <pc:sldLayoutMk cId="1333595292" sldId="2147483680"/>
              <ac:spMk id="4" creationId="{B0E016E7-3C45-8FFC-4C1A-C8DA573D2D4D}"/>
            </ac:spMkLst>
          </pc:spChg>
          <pc:spChg chg="mod">
            <ac:chgData name="van Leeuwen  Sara (VPPL)" userId="7a5f1df4-0dd0-4c9e-a72f-a035cf318af6" providerId="ADAL" clId="{7439252B-60B4-40D9-9D9B-2AD9ED49787B}" dt="2023-11-17T14:16:20.849" v="407" actId="790"/>
            <ac:spMkLst>
              <pc:docMk/>
              <pc:sldMasterMk cId="409606273" sldId="2147483648"/>
              <pc:sldLayoutMk cId="1333595292" sldId="2147483680"/>
              <ac:spMk id="7" creationId="{0503E57F-F89F-431B-8D38-7CC97B7C201A}"/>
            </ac:spMkLst>
          </pc:spChg>
          <pc:spChg chg="mod">
            <ac:chgData name="van Leeuwen  Sara (VPPL)" userId="7a5f1df4-0dd0-4c9e-a72f-a035cf318af6" providerId="ADAL" clId="{7439252B-60B4-40D9-9D9B-2AD9ED49787B}" dt="2023-11-17T14:16:20.849" v="409" actId="790"/>
            <ac:spMkLst>
              <pc:docMk/>
              <pc:sldMasterMk cId="409606273" sldId="2147483648"/>
              <pc:sldLayoutMk cId="1333595292" sldId="2147483680"/>
              <ac:spMk id="8" creationId="{4ADF7DEC-21BD-45CA-9E91-B9F58A69F621}"/>
            </ac:spMkLst>
          </pc:spChg>
          <pc:spChg chg="mod">
            <ac:chgData name="van Leeuwen  Sara (VPPL)" userId="7a5f1df4-0dd0-4c9e-a72f-a035cf318af6" providerId="ADAL" clId="{7439252B-60B4-40D9-9D9B-2AD9ED49787B}" dt="2023-11-17T14:16:20.849" v="408" actId="790"/>
            <ac:spMkLst>
              <pc:docMk/>
              <pc:sldMasterMk cId="409606273" sldId="2147483648"/>
              <pc:sldLayoutMk cId="1333595292" sldId="2147483680"/>
              <ac:spMk id="12" creationId="{1BEB6197-C509-4752-B57E-CEE955F5D926}"/>
            </ac:spMkLst>
          </pc:spChg>
          <pc:graphicFrameChg chg="mod">
            <ac:chgData name="van Leeuwen  Sara (VPPL)" userId="7a5f1df4-0dd0-4c9e-a72f-a035cf318af6" providerId="ADAL" clId="{7439252B-60B4-40D9-9D9B-2AD9ED49787B}" dt="2023-11-17T14:16:23.458" v="2562" actId="1076"/>
            <ac:graphicFrameMkLst>
              <pc:docMk/>
              <pc:sldMasterMk cId="409606273" sldId="2147483648"/>
              <pc:sldLayoutMk cId="1333595292" sldId="2147483680"/>
              <ac:graphicFrameMk id="5" creationId="{40DA53BB-66D9-7F73-CECF-6387E332825A}"/>
            </ac:graphicFrameMkLst>
          </pc:graphicFrameChg>
        </pc:sldLayoutChg>
        <pc:sldLayoutChg chg="delSp modSp mod">
          <pc:chgData name="van Leeuwen  Sara (VPPL)" userId="7a5f1df4-0dd0-4c9e-a72f-a035cf318af6" providerId="ADAL" clId="{7439252B-60B4-40D9-9D9B-2AD9ED49787B}" dt="2023-11-17T14:16:23.458" v="2566" actId="1076"/>
          <pc:sldLayoutMkLst>
            <pc:docMk/>
            <pc:sldMasterMk cId="409606273" sldId="2147483648"/>
            <pc:sldLayoutMk cId="3987581940" sldId="2147483681"/>
          </pc:sldLayoutMkLst>
          <pc:spChg chg="mod">
            <ac:chgData name="van Leeuwen  Sara (VPPL)" userId="7a5f1df4-0dd0-4c9e-a72f-a035cf318af6" providerId="ADAL" clId="{7439252B-60B4-40D9-9D9B-2AD9ED49787B}" dt="2023-11-17T14:16:22.766" v="1823" actId="948"/>
            <ac:spMkLst>
              <pc:docMk/>
              <pc:sldMasterMk cId="409606273" sldId="2147483648"/>
              <pc:sldLayoutMk cId="3987581940" sldId="2147483681"/>
              <ac:spMk id="2" creationId="{3491294E-BEE7-4DA8-BBC8-88E1A7B07AEF}"/>
            </ac:spMkLst>
          </pc:spChg>
          <pc:spChg chg="del mod modVis">
            <ac:chgData name="van Leeuwen  Sara (VPPL)" userId="7a5f1df4-0dd0-4c9e-a72f-a035cf318af6" providerId="ADAL" clId="{7439252B-60B4-40D9-9D9B-2AD9ED49787B}" dt="2023-11-17T14:16:23.458" v="2565" actId="478"/>
            <ac:spMkLst>
              <pc:docMk/>
              <pc:sldMasterMk cId="409606273" sldId="2147483648"/>
              <pc:sldLayoutMk cId="3987581940" sldId="2147483681"/>
              <ac:spMk id="3" creationId="{8ED5E8C4-416A-00FD-CBAE-8BE0EC2736B9}"/>
            </ac:spMkLst>
          </pc:spChg>
          <pc:spChg chg="mod">
            <ac:chgData name="van Leeuwen  Sara (VPPL)" userId="7a5f1df4-0dd0-4c9e-a72f-a035cf318af6" providerId="ADAL" clId="{7439252B-60B4-40D9-9D9B-2AD9ED49787B}" dt="2023-11-17T14:16:20.865" v="416" actId="790"/>
            <ac:spMkLst>
              <pc:docMk/>
              <pc:sldMasterMk cId="409606273" sldId="2147483648"/>
              <pc:sldLayoutMk cId="3987581940" sldId="2147483681"/>
              <ac:spMk id="6" creationId="{5FCAD79B-EF47-46A0-9575-229F3DAA72F5}"/>
            </ac:spMkLst>
          </pc:spChg>
          <pc:spChg chg="mod">
            <ac:chgData name="van Leeuwen  Sara (VPPL)" userId="7a5f1df4-0dd0-4c9e-a72f-a035cf318af6" providerId="ADAL" clId="{7439252B-60B4-40D9-9D9B-2AD9ED49787B}" dt="2023-11-17T14:16:20.865" v="418" actId="790"/>
            <ac:spMkLst>
              <pc:docMk/>
              <pc:sldMasterMk cId="409606273" sldId="2147483648"/>
              <pc:sldLayoutMk cId="3987581940" sldId="2147483681"/>
              <ac:spMk id="7" creationId="{789A3267-E086-4EC3-A0BB-F8ECD01A5C7E}"/>
            </ac:spMkLst>
          </pc:spChg>
          <pc:spChg chg="mod">
            <ac:chgData name="van Leeuwen  Sara (VPPL)" userId="7a5f1df4-0dd0-4c9e-a72f-a035cf318af6" providerId="ADAL" clId="{7439252B-60B4-40D9-9D9B-2AD9ED49787B}" dt="2023-11-17T14:16:20.865" v="417" actId="790"/>
            <ac:spMkLst>
              <pc:docMk/>
              <pc:sldMasterMk cId="409606273" sldId="2147483648"/>
              <pc:sldLayoutMk cId="3987581940" sldId="2147483681"/>
              <ac:spMk id="8" creationId="{72236FC6-C8FF-43C1-86B9-BF112345926F}"/>
            </ac:spMkLst>
          </pc:spChg>
          <pc:graphicFrameChg chg="mod">
            <ac:chgData name="van Leeuwen  Sara (VPPL)" userId="7a5f1df4-0dd0-4c9e-a72f-a035cf318af6" providerId="ADAL" clId="{7439252B-60B4-40D9-9D9B-2AD9ED49787B}" dt="2023-11-17T14:16:23.458" v="2566" actId="1076"/>
            <ac:graphicFrameMkLst>
              <pc:docMk/>
              <pc:sldMasterMk cId="409606273" sldId="2147483648"/>
              <pc:sldLayoutMk cId="3987581940" sldId="2147483681"/>
              <ac:graphicFrameMk id="4" creationId="{6F3A83FC-24AD-6BCE-AF56-A1CFBE66824B}"/>
            </ac:graphicFrameMkLst>
          </pc:graphicFrameChg>
        </pc:sldLayoutChg>
        <pc:sldLayoutChg chg="delSp modSp mod">
          <pc:chgData name="van Leeuwen  Sara (VPPL)" userId="7a5f1df4-0dd0-4c9e-a72f-a035cf318af6" providerId="ADAL" clId="{7439252B-60B4-40D9-9D9B-2AD9ED49787B}" dt="2023-11-17T14:16:23.458" v="2564" actId="1076"/>
          <pc:sldLayoutMkLst>
            <pc:docMk/>
            <pc:sldMasterMk cId="409606273" sldId="2147483648"/>
            <pc:sldLayoutMk cId="3929383066" sldId="2147483682"/>
          </pc:sldLayoutMkLst>
          <pc:spChg chg="mod">
            <ac:chgData name="van Leeuwen  Sara (VPPL)" userId="7a5f1df4-0dd0-4c9e-a72f-a035cf318af6" providerId="ADAL" clId="{7439252B-60B4-40D9-9D9B-2AD9ED49787B}" dt="2023-11-17T14:16:22.751" v="1805" actId="948"/>
            <ac:spMkLst>
              <pc:docMk/>
              <pc:sldMasterMk cId="409606273" sldId="2147483648"/>
              <pc:sldLayoutMk cId="3929383066" sldId="2147483682"/>
              <ac:spMk id="2" creationId="{3491294E-BEE7-4DA8-BBC8-88E1A7B07AEF}"/>
            </ac:spMkLst>
          </pc:spChg>
          <pc:spChg chg="del mod modVis">
            <ac:chgData name="van Leeuwen  Sara (VPPL)" userId="7a5f1df4-0dd0-4c9e-a72f-a035cf318af6" providerId="ADAL" clId="{7439252B-60B4-40D9-9D9B-2AD9ED49787B}" dt="2023-11-17T14:16:23.458" v="2563" actId="478"/>
            <ac:spMkLst>
              <pc:docMk/>
              <pc:sldMasterMk cId="409606273" sldId="2147483648"/>
              <pc:sldLayoutMk cId="3929383066" sldId="2147483682"/>
              <ac:spMk id="3" creationId="{D00BA8EF-4E5A-187C-BA9E-F0B7B94291C5}"/>
            </ac:spMkLst>
          </pc:spChg>
          <pc:spChg chg="mod">
            <ac:chgData name="van Leeuwen  Sara (VPPL)" userId="7a5f1df4-0dd0-4c9e-a72f-a035cf318af6" providerId="ADAL" clId="{7439252B-60B4-40D9-9D9B-2AD9ED49787B}" dt="2023-11-17T14:16:20.849" v="410" actId="790"/>
            <ac:spMkLst>
              <pc:docMk/>
              <pc:sldMasterMk cId="409606273" sldId="2147483648"/>
              <pc:sldLayoutMk cId="3929383066" sldId="2147483682"/>
              <ac:spMk id="5" creationId="{EB061823-3F7A-48C8-8477-B410C18AC1B7}"/>
            </ac:spMkLst>
          </pc:spChg>
          <pc:spChg chg="mod">
            <ac:chgData name="van Leeuwen  Sara (VPPL)" userId="7a5f1df4-0dd0-4c9e-a72f-a035cf318af6" providerId="ADAL" clId="{7439252B-60B4-40D9-9D9B-2AD9ED49787B}" dt="2023-11-17T14:16:20.849" v="412" actId="790"/>
            <ac:spMkLst>
              <pc:docMk/>
              <pc:sldMasterMk cId="409606273" sldId="2147483648"/>
              <pc:sldLayoutMk cId="3929383066" sldId="2147483682"/>
              <ac:spMk id="7" creationId="{D364BCB8-820F-4C3A-BA37-7048A4C8D4C3}"/>
            </ac:spMkLst>
          </pc:spChg>
          <pc:spChg chg="mod">
            <ac:chgData name="van Leeuwen  Sara (VPPL)" userId="7a5f1df4-0dd0-4c9e-a72f-a035cf318af6" providerId="ADAL" clId="{7439252B-60B4-40D9-9D9B-2AD9ED49787B}" dt="2023-11-17T14:16:20.865" v="414" actId="790"/>
            <ac:spMkLst>
              <pc:docMk/>
              <pc:sldMasterMk cId="409606273" sldId="2147483648"/>
              <pc:sldLayoutMk cId="3929383066" sldId="2147483682"/>
              <ac:spMk id="9" creationId="{791A1AD7-DB7D-4C75-BEFB-EB6D34D3B2AB}"/>
            </ac:spMkLst>
          </pc:spChg>
          <pc:spChg chg="mod">
            <ac:chgData name="van Leeuwen  Sara (VPPL)" userId="7a5f1df4-0dd0-4c9e-a72f-a035cf318af6" providerId="ADAL" clId="{7439252B-60B4-40D9-9D9B-2AD9ED49787B}" dt="2023-11-17T14:16:20.849" v="413" actId="790"/>
            <ac:spMkLst>
              <pc:docMk/>
              <pc:sldMasterMk cId="409606273" sldId="2147483648"/>
              <pc:sldLayoutMk cId="3929383066" sldId="2147483682"/>
              <ac:spMk id="11" creationId="{A73913C2-8DFE-4F15-B2DB-2A6D5C267009}"/>
            </ac:spMkLst>
          </pc:spChg>
          <pc:graphicFrameChg chg="mod">
            <ac:chgData name="van Leeuwen  Sara (VPPL)" userId="7a5f1df4-0dd0-4c9e-a72f-a035cf318af6" providerId="ADAL" clId="{7439252B-60B4-40D9-9D9B-2AD9ED49787B}" dt="2023-11-17T14:16:23.458" v="2564" actId="1076"/>
            <ac:graphicFrameMkLst>
              <pc:docMk/>
              <pc:sldMasterMk cId="409606273" sldId="2147483648"/>
              <pc:sldLayoutMk cId="3929383066" sldId="2147483682"/>
              <ac:graphicFrameMk id="6" creationId="{904602C9-06E1-DF73-1C1F-D43792326339}"/>
            </ac:graphicFrameMkLst>
          </pc:graphicFrameChg>
        </pc:sldLayoutChg>
      </pc:sldMasterChg>
    </pc:docChg>
  </pc:docChgLst>
  <pc:docChgLst>
    <pc:chgData name="van Leeuwen  Sara (VPPL)" userId="7a5f1df4-0dd0-4c9e-a72f-a035cf318af6" providerId="ADAL" clId="{163566DF-1A57-4695-8480-536895A4B2AF}"/>
    <pc:docChg chg="delSld modSld modSection">
      <pc:chgData name="van Leeuwen  Sara (VPPL)" userId="7a5f1df4-0dd0-4c9e-a72f-a035cf318af6" providerId="ADAL" clId="{163566DF-1A57-4695-8480-536895A4B2AF}" dt="2024-02-29T09:43:22.953" v="17" actId="13926"/>
      <pc:docMkLst>
        <pc:docMk/>
      </pc:docMkLst>
      <pc:sldChg chg="modSp mod">
        <pc:chgData name="van Leeuwen  Sara (VPPL)" userId="7a5f1df4-0dd0-4c9e-a72f-a035cf318af6" providerId="ADAL" clId="{163566DF-1A57-4695-8480-536895A4B2AF}" dt="2024-02-29T09:40:41.805" v="15" actId="20577"/>
        <pc:sldMkLst>
          <pc:docMk/>
          <pc:sldMk cId="3233872304" sldId="2379"/>
        </pc:sldMkLst>
        <pc:spChg chg="mod">
          <ac:chgData name="van Leeuwen  Sara (VPPL)" userId="7a5f1df4-0dd0-4c9e-a72f-a035cf318af6" providerId="ADAL" clId="{163566DF-1A57-4695-8480-536895A4B2AF}" dt="2024-02-29T09:40:41.805" v="15" actId="20577"/>
          <ac:spMkLst>
            <pc:docMk/>
            <pc:sldMk cId="3233872304" sldId="2379"/>
            <ac:spMk id="8" creationId="{AC1FB292-90C1-439C-8480-EB4116CF2374}"/>
          </ac:spMkLst>
        </pc:spChg>
      </pc:sldChg>
      <pc:sldChg chg="modSp mod">
        <pc:chgData name="van Leeuwen  Sara (VPPL)" userId="7a5f1df4-0dd0-4c9e-a72f-a035cf318af6" providerId="ADAL" clId="{163566DF-1A57-4695-8480-536895A4B2AF}" dt="2024-02-29T09:43:22.953" v="17" actId="13926"/>
        <pc:sldMkLst>
          <pc:docMk/>
          <pc:sldMk cId="282434247" sldId="2395"/>
        </pc:sldMkLst>
        <pc:spChg chg="mod">
          <ac:chgData name="van Leeuwen  Sara (VPPL)" userId="7a5f1df4-0dd0-4c9e-a72f-a035cf318af6" providerId="ADAL" clId="{163566DF-1A57-4695-8480-536895A4B2AF}" dt="2024-02-29T09:43:22.953" v="17" actId="13926"/>
          <ac:spMkLst>
            <pc:docMk/>
            <pc:sldMk cId="282434247" sldId="2395"/>
            <ac:spMk id="3" creationId="{E9BBD3EE-C606-408E-8853-A8E4F45E02CE}"/>
          </ac:spMkLst>
        </pc:spChg>
      </pc:sldChg>
      <pc:sldChg chg="del">
        <pc:chgData name="van Leeuwen  Sara (VPPL)" userId="7a5f1df4-0dd0-4c9e-a72f-a035cf318af6" providerId="ADAL" clId="{163566DF-1A57-4695-8480-536895A4B2AF}" dt="2024-02-29T09:42:04.462" v="16" actId="47"/>
        <pc:sldMkLst>
          <pc:docMk/>
          <pc:sldMk cId="1578806444" sldId="2407"/>
        </pc:sldMkLst>
      </pc:sldChg>
    </pc:docChg>
  </pc:docChgLst>
  <pc:docChgLst>
    <pc:chgData name="Hildbrand Studer  Ernestine (VPPL)" userId="S::ehildbra@ethz.ch::e77c119a-1ea3-4930-842d-0e2d2b9dbcf1" providerId="AD" clId="Web-{A73EA9BE-48C2-116B-D01A-478DD8E84773}"/>
    <pc:docChg chg="modSld">
      <pc:chgData name="Hildbrand Studer  Ernestine (VPPL)" userId="S::ehildbra@ethz.ch::e77c119a-1ea3-4930-842d-0e2d2b9dbcf1" providerId="AD" clId="Web-{A73EA9BE-48C2-116B-D01A-478DD8E84773}" dt="2023-09-15T05:33:18.130" v="26" actId="20577"/>
      <pc:docMkLst>
        <pc:docMk/>
      </pc:docMkLst>
      <pc:sldChg chg="modSp">
        <pc:chgData name="Hildbrand Studer  Ernestine (VPPL)" userId="S::ehildbra@ethz.ch::e77c119a-1ea3-4930-842d-0e2d2b9dbcf1" providerId="AD" clId="Web-{A73EA9BE-48C2-116B-D01A-478DD8E84773}" dt="2023-09-15T05:33:18.130" v="26" actId="20577"/>
        <pc:sldMkLst>
          <pc:docMk/>
          <pc:sldMk cId="3233872304" sldId="2379"/>
        </pc:sldMkLst>
        <pc:spChg chg="mod">
          <ac:chgData name="Hildbrand Studer  Ernestine (VPPL)" userId="S::ehildbra@ethz.ch::e77c119a-1ea3-4930-842d-0e2d2b9dbcf1" providerId="AD" clId="Web-{A73EA9BE-48C2-116B-D01A-478DD8E84773}" dt="2023-09-15T05:33:18.130" v="26" actId="20577"/>
          <ac:spMkLst>
            <pc:docMk/>
            <pc:sldMk cId="3233872304" sldId="2379"/>
            <ac:spMk id="8" creationId="{AC1FB292-90C1-439C-8480-EB4116CF2374}"/>
          </ac:spMkLst>
        </pc:spChg>
      </pc:sldChg>
    </pc:docChg>
  </pc:docChgLst>
  <pc:docChgLst>
    <pc:chgData name="van Leeuwen  Sara (VPPL)" userId="7a5f1df4-0dd0-4c9e-a72f-a035cf318af6" providerId="ADAL" clId="{3305C26B-DAEC-4E75-A798-968AFBE840BD}"/>
    <pc:docChg chg="undo custSel modSld">
      <pc:chgData name="van Leeuwen  Sara (VPPL)" userId="7a5f1df4-0dd0-4c9e-a72f-a035cf318af6" providerId="ADAL" clId="{3305C26B-DAEC-4E75-A798-968AFBE840BD}" dt="2023-10-18T14:33:41.339" v="663" actId="1035"/>
      <pc:docMkLst>
        <pc:docMk/>
      </pc:docMkLst>
      <pc:sldChg chg="modSp mod">
        <pc:chgData name="van Leeuwen  Sara (VPPL)" userId="7a5f1df4-0dd0-4c9e-a72f-a035cf318af6" providerId="ADAL" clId="{3305C26B-DAEC-4E75-A798-968AFBE840BD}" dt="2023-10-18T14:01:46.156" v="443" actId="21"/>
        <pc:sldMkLst>
          <pc:docMk/>
          <pc:sldMk cId="3227777584" sldId="422"/>
        </pc:sldMkLst>
        <pc:spChg chg="mod">
          <ac:chgData name="van Leeuwen  Sara (VPPL)" userId="7a5f1df4-0dd0-4c9e-a72f-a035cf318af6" providerId="ADAL" clId="{3305C26B-DAEC-4E75-A798-968AFBE840BD}" dt="2023-10-18T14:01:46.156" v="443" actId="21"/>
          <ac:spMkLst>
            <pc:docMk/>
            <pc:sldMk cId="3227777584" sldId="422"/>
            <ac:spMk id="3" creationId="{D248A836-D270-48AC-93BC-E789F2E8E734}"/>
          </ac:spMkLst>
        </pc:spChg>
      </pc:sldChg>
      <pc:sldChg chg="mod modTransition modShow">
        <pc:chgData name="van Leeuwen  Sara (VPPL)" userId="7a5f1df4-0dd0-4c9e-a72f-a035cf318af6" providerId="ADAL" clId="{3305C26B-DAEC-4E75-A798-968AFBE840BD}" dt="2023-10-18T13:51:21.988" v="383"/>
        <pc:sldMkLst>
          <pc:docMk/>
          <pc:sldMk cId="210407677" sldId="2350"/>
        </pc:sldMkLst>
      </pc:sldChg>
      <pc:sldChg chg="modSp mod modTransition modShow">
        <pc:chgData name="van Leeuwen  Sara (VPPL)" userId="7a5f1df4-0dd0-4c9e-a72f-a035cf318af6" providerId="ADAL" clId="{3305C26B-DAEC-4E75-A798-968AFBE840BD}" dt="2023-10-18T13:51:37.585" v="385"/>
        <pc:sldMkLst>
          <pc:docMk/>
          <pc:sldMk cId="2700500582" sldId="2374"/>
        </pc:sldMkLst>
        <pc:graphicFrameChg chg="modGraphic">
          <ac:chgData name="van Leeuwen  Sara (VPPL)" userId="7a5f1df4-0dd0-4c9e-a72f-a035cf318af6" providerId="ADAL" clId="{3305C26B-DAEC-4E75-A798-968AFBE840BD}" dt="2023-10-18T13:40:39.941" v="332" actId="20577"/>
          <ac:graphicFrameMkLst>
            <pc:docMk/>
            <pc:sldMk cId="2700500582" sldId="2374"/>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1769867695" sldId="2392"/>
        </pc:sldMkLst>
        <pc:graphicFrameChg chg="mod modGraphic">
          <ac:chgData name="van Leeuwen  Sara (VPPL)" userId="7a5f1df4-0dd0-4c9e-a72f-a035cf318af6" providerId="ADAL" clId="{3305C26B-DAEC-4E75-A798-968AFBE840BD}" dt="2023-10-18T13:49:03.507" v="375" actId="6549"/>
          <ac:graphicFrameMkLst>
            <pc:docMk/>
            <pc:sldMk cId="1769867695" sldId="2392"/>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2631741042" sldId="2394"/>
        </pc:sldMkLst>
        <pc:spChg chg="mod">
          <ac:chgData name="van Leeuwen  Sara (VPPL)" userId="7a5f1df4-0dd0-4c9e-a72f-a035cf318af6" providerId="ADAL" clId="{3305C26B-DAEC-4E75-A798-968AFBE840BD}" dt="2023-10-18T13:27:15.235" v="39" actId="20577"/>
          <ac:spMkLst>
            <pc:docMk/>
            <pc:sldMk cId="2631741042" sldId="2394"/>
            <ac:spMk id="3" creationId="{E9BBD3EE-C606-408E-8853-A8E4F45E02CE}"/>
          </ac:spMkLst>
        </pc:spChg>
      </pc:sldChg>
      <pc:sldChg chg="modSp mod">
        <pc:chgData name="van Leeuwen  Sara (VPPL)" userId="7a5f1df4-0dd0-4c9e-a72f-a035cf318af6" providerId="ADAL" clId="{3305C26B-DAEC-4E75-A798-968AFBE840BD}" dt="2023-10-18T13:56:18.410" v="436" actId="33524"/>
        <pc:sldMkLst>
          <pc:docMk/>
          <pc:sldMk cId="282434247" sldId="2395"/>
        </pc:sldMkLst>
        <pc:spChg chg="mod">
          <ac:chgData name="van Leeuwen  Sara (VPPL)" userId="7a5f1df4-0dd0-4c9e-a72f-a035cf318af6" providerId="ADAL" clId="{3305C26B-DAEC-4E75-A798-968AFBE840BD}" dt="2023-10-18T13:56:18.410" v="436" actId="33524"/>
          <ac:spMkLst>
            <pc:docMk/>
            <pc:sldMk cId="282434247" sldId="2395"/>
            <ac:spMk id="3" creationId="{E9BBD3EE-C606-408E-8853-A8E4F45E02CE}"/>
          </ac:spMkLst>
        </pc:spChg>
      </pc:sldChg>
      <pc:sldChg chg="modSp mod">
        <pc:chgData name="van Leeuwen  Sara (VPPL)" userId="7a5f1df4-0dd0-4c9e-a72f-a035cf318af6" providerId="ADAL" clId="{3305C26B-DAEC-4E75-A798-968AFBE840BD}" dt="2023-10-18T13:56:17.874" v="435" actId="20577"/>
        <pc:sldMkLst>
          <pc:docMk/>
          <pc:sldMk cId="54911923" sldId="2398"/>
        </pc:sldMkLst>
        <pc:spChg chg="mod">
          <ac:chgData name="van Leeuwen  Sara (VPPL)" userId="7a5f1df4-0dd0-4c9e-a72f-a035cf318af6" providerId="ADAL" clId="{3305C26B-DAEC-4E75-A798-968AFBE840BD}" dt="2023-10-18T13:56:17.874" v="435" actId="20577"/>
          <ac:spMkLst>
            <pc:docMk/>
            <pc:sldMk cId="54911923" sldId="2398"/>
            <ac:spMk id="37" creationId="{166FA689-72C3-40C8-B811-164178E71FB6}"/>
          </ac:spMkLst>
        </pc:spChg>
      </pc:sldChg>
      <pc:sldChg chg="modSp mod modTransition modShow">
        <pc:chgData name="van Leeuwen  Sara (VPPL)" userId="7a5f1df4-0dd0-4c9e-a72f-a035cf318af6" providerId="ADAL" clId="{3305C26B-DAEC-4E75-A798-968AFBE840BD}" dt="2023-10-18T13:51:37.585" v="385"/>
        <pc:sldMkLst>
          <pc:docMk/>
          <pc:sldMk cId="1578806444" sldId="2407"/>
        </pc:sldMkLst>
        <pc:spChg chg="mod">
          <ac:chgData name="van Leeuwen  Sara (VPPL)" userId="7a5f1df4-0dd0-4c9e-a72f-a035cf318af6" providerId="ADAL" clId="{3305C26B-DAEC-4E75-A798-968AFBE840BD}" dt="2023-10-18T13:29:48.909" v="82" actId="20577"/>
          <ac:spMkLst>
            <pc:docMk/>
            <pc:sldMk cId="1578806444" sldId="2407"/>
            <ac:spMk id="3" creationId="{0388AFFD-3076-49B5-B0DE-559A52DA68A3}"/>
          </ac:spMkLst>
        </pc:spChg>
      </pc:sldChg>
      <pc:sldChg chg="modSp mod">
        <pc:chgData name="van Leeuwen  Sara (VPPL)" userId="7a5f1df4-0dd0-4c9e-a72f-a035cf318af6" providerId="ADAL" clId="{3305C26B-DAEC-4E75-A798-968AFBE840BD}" dt="2023-10-18T14:02:47.866" v="492" actId="207"/>
        <pc:sldMkLst>
          <pc:docMk/>
          <pc:sldMk cId="1776128425" sldId="2412"/>
        </pc:sldMkLst>
        <pc:spChg chg="mod">
          <ac:chgData name="van Leeuwen  Sara (VPPL)" userId="7a5f1df4-0dd0-4c9e-a72f-a035cf318af6" providerId="ADAL" clId="{3305C26B-DAEC-4E75-A798-968AFBE840BD}" dt="2023-10-18T14:02:47.866" v="492" actId="207"/>
          <ac:spMkLst>
            <pc:docMk/>
            <pc:sldMk cId="1776128425" sldId="2412"/>
            <ac:spMk id="9" creationId="{0E2807F2-D9BD-433B-B6EF-CF115AF7F215}"/>
          </ac:spMkLst>
        </pc:spChg>
      </pc:sldChg>
      <pc:sldChg chg="modSp mod modTransition modShow">
        <pc:chgData name="van Leeuwen  Sara (VPPL)" userId="7a5f1df4-0dd0-4c9e-a72f-a035cf318af6" providerId="ADAL" clId="{3305C26B-DAEC-4E75-A798-968AFBE840BD}" dt="2023-10-18T13:51:37.585" v="385"/>
        <pc:sldMkLst>
          <pc:docMk/>
          <pc:sldMk cId="3512549865" sldId="2427"/>
        </pc:sldMkLst>
        <pc:graphicFrameChg chg="modGraphic">
          <ac:chgData name="van Leeuwen  Sara (VPPL)" userId="7a5f1df4-0dd0-4c9e-a72f-a035cf318af6" providerId="ADAL" clId="{3305C26B-DAEC-4E75-A798-968AFBE840BD}" dt="2023-10-18T13:46:01.452" v="347" actId="20577"/>
          <ac:graphicFrameMkLst>
            <pc:docMk/>
            <pc:sldMk cId="3512549865" sldId="2427"/>
            <ac:graphicFrameMk id="10" creationId="{9B7E8B9D-5F9A-4F11-B14F-FECAB6CF2579}"/>
          </ac:graphicFrameMkLst>
        </pc:graphicFrameChg>
      </pc:sldChg>
      <pc:sldChg chg="modSp mod modTransition modShow">
        <pc:chgData name="van Leeuwen  Sara (VPPL)" userId="7a5f1df4-0dd0-4c9e-a72f-a035cf318af6" providerId="ADAL" clId="{3305C26B-DAEC-4E75-A798-968AFBE840BD}" dt="2023-10-18T13:51:37.585" v="385"/>
        <pc:sldMkLst>
          <pc:docMk/>
          <pc:sldMk cId="1289117044" sldId="2431"/>
        </pc:sldMkLst>
        <pc:spChg chg="mod">
          <ac:chgData name="van Leeuwen  Sara (VPPL)" userId="7a5f1df4-0dd0-4c9e-a72f-a035cf318af6" providerId="ADAL" clId="{3305C26B-DAEC-4E75-A798-968AFBE840BD}" dt="2023-10-18T13:35:55.401" v="234" actId="948"/>
          <ac:spMkLst>
            <pc:docMk/>
            <pc:sldMk cId="1289117044" sldId="2431"/>
            <ac:spMk id="16" creationId="{610C0BC9-B539-4F72-A018-A02A8E404895}"/>
          </ac:spMkLst>
        </pc:spChg>
        <pc:picChg chg="mod">
          <ac:chgData name="van Leeuwen  Sara (VPPL)" userId="7a5f1df4-0dd0-4c9e-a72f-a035cf318af6" providerId="ADAL" clId="{3305C26B-DAEC-4E75-A798-968AFBE840BD}" dt="2023-10-18T13:36:02.338" v="242" actId="1036"/>
          <ac:picMkLst>
            <pc:docMk/>
            <pc:sldMk cId="1289117044" sldId="2431"/>
            <ac:picMk id="24" creationId="{7BCC7FA2-C324-C217-569B-CB43F3B8989C}"/>
          </ac:picMkLst>
        </pc:picChg>
      </pc:sldChg>
      <pc:sldChg chg="modSp mod modTransition modShow">
        <pc:chgData name="van Leeuwen  Sara (VPPL)" userId="7a5f1df4-0dd0-4c9e-a72f-a035cf318af6" providerId="ADAL" clId="{3305C26B-DAEC-4E75-A798-968AFBE840BD}" dt="2023-10-18T13:51:37.585" v="385"/>
        <pc:sldMkLst>
          <pc:docMk/>
          <pc:sldMk cId="4240256703" sldId="2434"/>
        </pc:sldMkLst>
        <pc:graphicFrameChg chg="modGraphic">
          <ac:chgData name="van Leeuwen  Sara (VPPL)" userId="7a5f1df4-0dd0-4c9e-a72f-a035cf318af6" providerId="ADAL" clId="{3305C26B-DAEC-4E75-A798-968AFBE840BD}" dt="2023-10-18T13:38:20.729" v="326" actId="5793"/>
          <ac:graphicFrameMkLst>
            <pc:docMk/>
            <pc:sldMk cId="4240256703" sldId="2434"/>
            <ac:graphicFrameMk id="10" creationId="{0EF152D8-7E22-405A-9145-E64DA0C4FFB0}"/>
          </ac:graphicFrameMkLst>
        </pc:graphicFrameChg>
      </pc:sldChg>
      <pc:sldChg chg="modSp mod">
        <pc:chgData name="van Leeuwen  Sara (VPPL)" userId="7a5f1df4-0dd0-4c9e-a72f-a035cf318af6" providerId="ADAL" clId="{3305C26B-DAEC-4E75-A798-968AFBE840BD}" dt="2023-10-18T14:33:41.339" v="663" actId="1035"/>
        <pc:sldMkLst>
          <pc:docMk/>
          <pc:sldMk cId="115161503" sldId="2437"/>
        </pc:sldMkLst>
        <pc:spChg chg="mod">
          <ac:chgData name="van Leeuwen  Sara (VPPL)" userId="7a5f1df4-0dd0-4c9e-a72f-a035cf318af6" providerId="ADAL" clId="{3305C26B-DAEC-4E75-A798-968AFBE840BD}" dt="2023-10-18T14:33:17.887" v="625" actId="14100"/>
          <ac:spMkLst>
            <pc:docMk/>
            <pc:sldMk cId="115161503" sldId="2437"/>
            <ac:spMk id="10" creationId="{00000000-0000-0000-0000-000000000000}"/>
          </ac:spMkLst>
        </pc:spChg>
        <pc:spChg chg="mod">
          <ac:chgData name="van Leeuwen  Sara (VPPL)" userId="7a5f1df4-0dd0-4c9e-a72f-a035cf318af6" providerId="ADAL" clId="{3305C26B-DAEC-4E75-A798-968AFBE840BD}" dt="2023-10-18T14:33:34.748" v="646" actId="14100"/>
          <ac:spMkLst>
            <pc:docMk/>
            <pc:sldMk cId="115161503" sldId="2437"/>
            <ac:spMk id="13" creationId="{395FE564-E77A-A062-6DE1-DDA7459467A2}"/>
          </ac:spMkLst>
        </pc:spChg>
        <pc:spChg chg="mod">
          <ac:chgData name="van Leeuwen  Sara (VPPL)" userId="7a5f1df4-0dd0-4c9e-a72f-a035cf318af6" providerId="ADAL" clId="{3305C26B-DAEC-4E75-A798-968AFBE840BD}" dt="2023-10-18T14:33:41.339" v="663" actId="1035"/>
          <ac:spMkLst>
            <pc:docMk/>
            <pc:sldMk cId="115161503" sldId="2437"/>
            <ac:spMk id="14" creationId="{7528A58F-D640-34E7-6DA4-5A6CA1D82E0E}"/>
          </ac:spMkLst>
        </pc:spChg>
      </pc:sldChg>
      <pc:sldChg chg="modSp mod modTransition modShow">
        <pc:chgData name="van Leeuwen  Sara (VPPL)" userId="7a5f1df4-0dd0-4c9e-a72f-a035cf318af6" providerId="ADAL" clId="{3305C26B-DAEC-4E75-A798-968AFBE840BD}" dt="2023-10-18T13:51:06.101" v="379"/>
        <pc:sldMkLst>
          <pc:docMk/>
          <pc:sldMk cId="3213314599" sldId="2444"/>
        </pc:sldMkLst>
        <pc:spChg chg="mod">
          <ac:chgData name="van Leeuwen  Sara (VPPL)" userId="7a5f1df4-0dd0-4c9e-a72f-a035cf318af6" providerId="ADAL" clId="{3305C26B-DAEC-4E75-A798-968AFBE840BD}" dt="2023-10-18T13:23:14.861" v="0" actId="33524"/>
          <ac:spMkLst>
            <pc:docMk/>
            <pc:sldMk cId="3213314599" sldId="2444"/>
            <ac:spMk id="3" creationId="{00000000-0000-0000-0000-000000000000}"/>
          </ac:spMkLst>
        </pc:spChg>
      </pc:sldChg>
      <pc:sldChg chg="mod modTransition modShow">
        <pc:chgData name="van Leeuwen  Sara (VPPL)" userId="7a5f1df4-0dd0-4c9e-a72f-a035cf318af6" providerId="ADAL" clId="{3305C26B-DAEC-4E75-A798-968AFBE840BD}" dt="2023-10-18T13:51:08.004" v="381"/>
        <pc:sldMkLst>
          <pc:docMk/>
          <pc:sldMk cId="687061124" sldId="2445"/>
        </pc:sldMkLst>
      </pc:sldChg>
      <pc:sldChg chg="mod modTransition modShow">
        <pc:chgData name="van Leeuwen  Sara (VPPL)" userId="7a5f1df4-0dd0-4c9e-a72f-a035cf318af6" providerId="ADAL" clId="{3305C26B-DAEC-4E75-A798-968AFBE840BD}" dt="2023-10-18T13:51:01.928" v="377"/>
        <pc:sldMkLst>
          <pc:docMk/>
          <pc:sldMk cId="217941384" sldId="2447"/>
        </pc:sldMkLst>
      </pc:sldChg>
      <pc:sldChg chg="modSp mod modTransition modShow">
        <pc:chgData name="van Leeuwen  Sara (VPPL)" userId="7a5f1df4-0dd0-4c9e-a72f-a035cf318af6" providerId="ADAL" clId="{3305C26B-DAEC-4E75-A798-968AFBE840BD}" dt="2023-10-18T13:51:37.585" v="385"/>
        <pc:sldMkLst>
          <pc:docMk/>
          <pc:sldMk cId="1765676676" sldId="2448"/>
        </pc:sldMkLst>
        <pc:spChg chg="mod">
          <ac:chgData name="van Leeuwen  Sara (VPPL)" userId="7a5f1df4-0dd0-4c9e-a72f-a035cf318af6" providerId="ADAL" clId="{3305C26B-DAEC-4E75-A798-968AFBE840BD}" dt="2023-10-18T13:33:57.660" v="193" actId="20577"/>
          <ac:spMkLst>
            <pc:docMk/>
            <pc:sldMk cId="1765676676" sldId="2448"/>
            <ac:spMk id="3" creationId="{E9BBD3EE-C606-408E-8853-A8E4F45E02CE}"/>
          </ac:spMkLst>
        </pc:spChg>
      </pc:sldChg>
    </pc:docChg>
  </pc:docChgLst>
  <pc:docChgLst>
    <pc:chgData name="van Leeuwen  Sara (VPPL)" userId="7a5f1df4-0dd0-4c9e-a72f-a035cf318af6" providerId="ADAL" clId="{7F83441C-FBEE-4352-925F-0745A21765C9}"/>
    <pc:docChg chg="undo redo custSel addSld delSld modSld sldOrd modMainMaster modSection replTag">
      <pc:chgData name="van Leeuwen  Sara (VPPL)" userId="7a5f1df4-0dd0-4c9e-a72f-a035cf318af6" providerId="ADAL" clId="{7F83441C-FBEE-4352-925F-0745A21765C9}" dt="2023-09-14T18:27:35.981" v="6990" actId="478"/>
      <pc:docMkLst>
        <pc:docMk/>
      </pc:docMkLst>
      <pc:sldChg chg="addSp modSp mod">
        <pc:chgData name="van Leeuwen  Sara (VPPL)" userId="7a5f1df4-0dd0-4c9e-a72f-a035cf318af6" providerId="ADAL" clId="{7F83441C-FBEE-4352-925F-0745A21765C9}" dt="2023-09-14T18:21:16.280" v="6987" actId="1076"/>
        <pc:sldMkLst>
          <pc:docMk/>
          <pc:sldMk cId="3227777584" sldId="422"/>
        </pc:sldMkLst>
        <pc:spChg chg="mod">
          <ac:chgData name="van Leeuwen  Sara (VPPL)" userId="7a5f1df4-0dd0-4c9e-a72f-a035cf318af6" providerId="ADAL" clId="{7F83441C-FBEE-4352-925F-0745A21765C9}" dt="2023-09-14T16:50:21.120" v="2872"/>
          <ac:spMkLst>
            <pc:docMk/>
            <pc:sldMk cId="3227777584" sldId="422"/>
            <ac:spMk id="5" creationId="{B057CD9C-7E82-4EE5-8D4A-CF1F831FF9E4}"/>
          </ac:spMkLst>
        </pc:spChg>
        <pc:spChg chg="add mod">
          <ac:chgData name="van Leeuwen  Sara (VPPL)" userId="7a5f1df4-0dd0-4c9e-a72f-a035cf318af6" providerId="ADAL" clId="{7F83441C-FBEE-4352-925F-0745A21765C9}" dt="2023-09-14T18:21:16.280" v="6987" actId="1076"/>
          <ac:spMkLst>
            <pc:docMk/>
            <pc:sldMk cId="3227777584" sldId="422"/>
            <ac:spMk id="11" creationId="{58F97EF9-9E65-0FDA-4456-034FB4F9E756}"/>
          </ac:spMkLst>
        </pc:spChg>
      </pc:sldChg>
      <pc:sldChg chg="del">
        <pc:chgData name="van Leeuwen  Sara (VPPL)" userId="7a5f1df4-0dd0-4c9e-a72f-a035cf318af6" providerId="ADAL" clId="{7F83441C-FBEE-4352-925F-0745A21765C9}" dt="2023-09-14T13:49:08.207" v="2824" actId="47"/>
        <pc:sldMkLst>
          <pc:docMk/>
          <pc:sldMk cId="462350290" sldId="441"/>
        </pc:sldMkLst>
      </pc:sldChg>
      <pc:sldChg chg="addSp delSp modSp mod">
        <pc:chgData name="van Leeuwen  Sara (VPPL)" userId="7a5f1df4-0dd0-4c9e-a72f-a035cf318af6" providerId="ADAL" clId="{7F83441C-FBEE-4352-925F-0745A21765C9}" dt="2023-09-14T16:50:09.484" v="2869"/>
        <pc:sldMkLst>
          <pc:docMk/>
          <pc:sldMk cId="286829603" sldId="2339"/>
        </pc:sldMkLst>
        <pc:spChg chg="mod">
          <ac:chgData name="van Leeuwen  Sara (VPPL)" userId="7a5f1df4-0dd0-4c9e-a72f-a035cf318af6" providerId="ADAL" clId="{7F83441C-FBEE-4352-925F-0745A21765C9}" dt="2023-09-14T12:08:54.313" v="367" actId="1038"/>
          <ac:spMkLst>
            <pc:docMk/>
            <pc:sldMk cId="286829603" sldId="2339"/>
            <ac:spMk id="8" creationId="{00000000-0000-0000-0000-000000000000}"/>
          </ac:spMkLst>
        </pc:spChg>
        <pc:spChg chg="mod">
          <ac:chgData name="van Leeuwen  Sara (VPPL)" userId="7a5f1df4-0dd0-4c9e-a72f-a035cf318af6" providerId="ADAL" clId="{7F83441C-FBEE-4352-925F-0745A21765C9}" dt="2023-09-14T12:06:50.796" v="346" actId="20577"/>
          <ac:spMkLst>
            <pc:docMk/>
            <pc:sldMk cId="286829603" sldId="2339"/>
            <ac:spMk id="9" creationId="{00000000-0000-0000-0000-000000000000}"/>
          </ac:spMkLst>
        </pc:spChg>
        <pc:spChg chg="add mod">
          <ac:chgData name="van Leeuwen  Sara (VPPL)" userId="7a5f1df4-0dd0-4c9e-a72f-a035cf318af6" providerId="ADAL" clId="{7F83441C-FBEE-4352-925F-0745A21765C9}" dt="2023-09-14T11:59:40.300" v="184" actId="1076"/>
          <ac:spMkLst>
            <pc:docMk/>
            <pc:sldMk cId="286829603" sldId="2339"/>
            <ac:spMk id="10" creationId="{6F41AF3B-302E-E75F-BA20-A8FFB5A1C173}"/>
          </ac:spMkLst>
        </pc:spChg>
        <pc:spChg chg="mod">
          <ac:chgData name="van Leeuwen  Sara (VPPL)" userId="7a5f1df4-0dd0-4c9e-a72f-a035cf318af6" providerId="ADAL" clId="{7F83441C-FBEE-4352-925F-0745A21765C9}" dt="2023-09-14T11:59:30.118" v="182" actId="1076"/>
          <ac:spMkLst>
            <pc:docMk/>
            <pc:sldMk cId="286829603" sldId="2339"/>
            <ac:spMk id="11" creationId="{00000000-0000-0000-0000-000000000000}"/>
          </ac:spMkLst>
        </pc:spChg>
        <pc:spChg chg="add mod">
          <ac:chgData name="van Leeuwen  Sara (VPPL)" userId="7a5f1df4-0dd0-4c9e-a72f-a035cf318af6" providerId="ADAL" clId="{7F83441C-FBEE-4352-925F-0745A21765C9}" dt="2023-09-14T11:59:40.300" v="184" actId="1076"/>
          <ac:spMkLst>
            <pc:docMk/>
            <pc:sldMk cId="286829603" sldId="2339"/>
            <ac:spMk id="13" creationId="{A2DA63D0-DB52-889F-2F2B-517DEC88A825}"/>
          </ac:spMkLst>
        </pc:spChg>
        <pc:spChg chg="add mod">
          <ac:chgData name="van Leeuwen  Sara (VPPL)" userId="7a5f1df4-0dd0-4c9e-a72f-a035cf318af6" providerId="ADAL" clId="{7F83441C-FBEE-4352-925F-0745A21765C9}" dt="2023-09-14T11:59:40.300" v="184" actId="1076"/>
          <ac:spMkLst>
            <pc:docMk/>
            <pc:sldMk cId="286829603" sldId="2339"/>
            <ac:spMk id="14" creationId="{377CF0BC-CB95-8F98-6CEB-5CFEF27F7257}"/>
          </ac:spMkLst>
        </pc:spChg>
        <pc:spChg chg="add mod">
          <ac:chgData name="van Leeuwen  Sara (VPPL)" userId="7a5f1df4-0dd0-4c9e-a72f-a035cf318af6" providerId="ADAL" clId="{7F83441C-FBEE-4352-925F-0745A21765C9}" dt="2023-09-14T12:01:48.664" v="253" actId="20577"/>
          <ac:spMkLst>
            <pc:docMk/>
            <pc:sldMk cId="286829603" sldId="2339"/>
            <ac:spMk id="15" creationId="{156683EB-D727-AEEC-79F5-8D0E4AB20A6B}"/>
          </ac:spMkLst>
        </pc:spChg>
        <pc:spChg chg="add mod">
          <ac:chgData name="van Leeuwen  Sara (VPPL)" userId="7a5f1df4-0dd0-4c9e-a72f-a035cf318af6" providerId="ADAL" clId="{7F83441C-FBEE-4352-925F-0745A21765C9}" dt="2023-09-14T12:03:52.620" v="294" actId="20577"/>
          <ac:spMkLst>
            <pc:docMk/>
            <pc:sldMk cId="286829603" sldId="2339"/>
            <ac:spMk id="16" creationId="{FBA74DE1-7D88-9CC3-2F7B-6033EA6114E0}"/>
          </ac:spMkLst>
        </pc:spChg>
        <pc:spChg chg="add mod">
          <ac:chgData name="van Leeuwen  Sara (VPPL)" userId="7a5f1df4-0dd0-4c9e-a72f-a035cf318af6" providerId="ADAL" clId="{7F83441C-FBEE-4352-925F-0745A21765C9}" dt="2023-09-14T12:06:03.420" v="338" actId="20577"/>
          <ac:spMkLst>
            <pc:docMk/>
            <pc:sldMk cId="286829603" sldId="2339"/>
            <ac:spMk id="17" creationId="{996C98F5-E864-5923-1607-1B96A5319F95}"/>
          </ac:spMkLst>
        </pc:spChg>
        <pc:spChg chg="add mod">
          <ac:chgData name="van Leeuwen  Sara (VPPL)" userId="7a5f1df4-0dd0-4c9e-a72f-a035cf318af6" providerId="ADAL" clId="{7F83441C-FBEE-4352-925F-0745A21765C9}" dt="2023-09-14T11:59:40.300" v="184" actId="1076"/>
          <ac:spMkLst>
            <pc:docMk/>
            <pc:sldMk cId="286829603" sldId="2339"/>
            <ac:spMk id="22" creationId="{69BA734D-73D9-0E42-16FF-9A16E9A0AA7F}"/>
          </ac:spMkLst>
        </pc:spChg>
        <pc:spChg chg="add mod">
          <ac:chgData name="van Leeuwen  Sara (VPPL)" userId="7a5f1df4-0dd0-4c9e-a72f-a035cf318af6" providerId="ADAL" clId="{7F83441C-FBEE-4352-925F-0745A21765C9}" dt="2023-09-14T11:59:44.628" v="190" actId="20577"/>
          <ac:spMkLst>
            <pc:docMk/>
            <pc:sldMk cId="286829603" sldId="2339"/>
            <ac:spMk id="24" creationId="{04289C6E-1199-0B99-D163-4CD3620BC9E0}"/>
          </ac:spMkLst>
        </pc:spChg>
        <pc:spChg chg="add del mod">
          <ac:chgData name="van Leeuwen  Sara (VPPL)" userId="7a5f1df4-0dd0-4c9e-a72f-a035cf318af6" providerId="ADAL" clId="{7F83441C-FBEE-4352-925F-0745A21765C9}" dt="2023-09-14T12:07:50.233" v="357" actId="478"/>
          <ac:spMkLst>
            <pc:docMk/>
            <pc:sldMk cId="286829603" sldId="2339"/>
            <ac:spMk id="25" creationId="{301DF12C-FA01-F935-CFC2-67DDD0E677C1}"/>
          </ac:spMkLst>
        </pc:spChg>
        <pc:spChg chg="add del mod">
          <ac:chgData name="van Leeuwen  Sara (VPPL)" userId="7a5f1df4-0dd0-4c9e-a72f-a035cf318af6" providerId="ADAL" clId="{7F83441C-FBEE-4352-925F-0745A21765C9}" dt="2023-09-14T12:07:50.233" v="357" actId="478"/>
          <ac:spMkLst>
            <pc:docMk/>
            <pc:sldMk cId="286829603" sldId="2339"/>
            <ac:spMk id="26" creationId="{F51A33D2-40BC-C5BE-5057-9EEC0E37AB94}"/>
          </ac:spMkLst>
        </pc:spChg>
        <pc:spChg chg="mod">
          <ac:chgData name="van Leeuwen  Sara (VPPL)" userId="7a5f1df4-0dd0-4c9e-a72f-a035cf318af6" providerId="ADAL" clId="{7F83441C-FBEE-4352-925F-0745A21765C9}" dt="2023-09-14T12:08:54.313" v="367" actId="1038"/>
          <ac:spMkLst>
            <pc:docMk/>
            <pc:sldMk cId="286829603" sldId="2339"/>
            <ac:spMk id="27" creationId="{00000000-0000-0000-0000-000000000000}"/>
          </ac:spMkLst>
        </pc:spChg>
        <pc:spChg chg="mod">
          <ac:chgData name="van Leeuwen  Sara (VPPL)" userId="7a5f1df4-0dd0-4c9e-a72f-a035cf318af6" providerId="ADAL" clId="{7F83441C-FBEE-4352-925F-0745A21765C9}" dt="2023-09-14T12:08:54.313" v="367" actId="1038"/>
          <ac:spMkLst>
            <pc:docMk/>
            <pc:sldMk cId="286829603" sldId="2339"/>
            <ac:spMk id="28" creationId="{00000000-0000-0000-0000-000000000000}"/>
          </ac:spMkLst>
        </pc:spChg>
        <pc:spChg chg="add del mod">
          <ac:chgData name="van Leeuwen  Sara (VPPL)" userId="7a5f1df4-0dd0-4c9e-a72f-a035cf318af6" providerId="ADAL" clId="{7F83441C-FBEE-4352-925F-0745A21765C9}" dt="2023-09-14T12:07:50.233" v="357" actId="478"/>
          <ac:spMkLst>
            <pc:docMk/>
            <pc:sldMk cId="286829603" sldId="2339"/>
            <ac:spMk id="29" creationId="{6AE13F44-6448-752F-CD42-43C1021EDB3D}"/>
          </ac:spMkLst>
        </pc:spChg>
        <pc:spChg chg="add del mod">
          <ac:chgData name="van Leeuwen  Sara (VPPL)" userId="7a5f1df4-0dd0-4c9e-a72f-a035cf318af6" providerId="ADAL" clId="{7F83441C-FBEE-4352-925F-0745A21765C9}" dt="2023-09-14T12:03:24.792" v="276" actId="478"/>
          <ac:spMkLst>
            <pc:docMk/>
            <pc:sldMk cId="286829603" sldId="2339"/>
            <ac:spMk id="30" creationId="{CE8B19C8-B7AD-466C-3D9B-CF03109A10C9}"/>
          </ac:spMkLst>
        </pc:spChg>
        <pc:spChg chg="add mod">
          <ac:chgData name="van Leeuwen  Sara (VPPL)" userId="7a5f1df4-0dd0-4c9e-a72f-a035cf318af6" providerId="ADAL" clId="{7F83441C-FBEE-4352-925F-0745A21765C9}" dt="2023-09-14T12:03:33.014" v="277" actId="1076"/>
          <ac:spMkLst>
            <pc:docMk/>
            <pc:sldMk cId="286829603" sldId="2339"/>
            <ac:spMk id="31" creationId="{90D245A3-6547-A8A7-9132-8A0860FFBF90}"/>
          </ac:spMkLst>
        </pc:spChg>
        <pc:spChg chg="mod">
          <ac:chgData name="van Leeuwen  Sara (VPPL)" userId="7a5f1df4-0dd0-4c9e-a72f-a035cf318af6" providerId="ADAL" clId="{7F83441C-FBEE-4352-925F-0745A21765C9}" dt="2023-09-14T16:50:09.484" v="2869"/>
          <ac:spMkLst>
            <pc:docMk/>
            <pc:sldMk cId="286829603" sldId="2339"/>
            <ac:spMk id="32" creationId="{D75AFB06-C0D5-C44A-AFA0-9276A7192873}"/>
          </ac:spMkLst>
        </pc:spChg>
        <pc:spChg chg="add mod">
          <ac:chgData name="van Leeuwen  Sara (VPPL)" userId="7a5f1df4-0dd0-4c9e-a72f-a035cf318af6" providerId="ADAL" clId="{7F83441C-FBEE-4352-925F-0745A21765C9}" dt="2023-09-14T12:08:14.209" v="359" actId="1076"/>
          <ac:spMkLst>
            <pc:docMk/>
            <pc:sldMk cId="286829603" sldId="2339"/>
            <ac:spMk id="33" creationId="{282627BB-A3F0-27F3-9756-6AFD3AD87099}"/>
          </ac:spMkLst>
        </pc:spChg>
        <pc:spChg chg="add mod">
          <ac:chgData name="van Leeuwen  Sara (VPPL)" userId="7a5f1df4-0dd0-4c9e-a72f-a035cf318af6" providerId="ADAL" clId="{7F83441C-FBEE-4352-925F-0745A21765C9}" dt="2023-09-14T12:08:14.209" v="359" actId="1076"/>
          <ac:spMkLst>
            <pc:docMk/>
            <pc:sldMk cId="286829603" sldId="2339"/>
            <ac:spMk id="34" creationId="{29B16004-A9CF-6D1F-3737-102F15FFE287}"/>
          </ac:spMkLst>
        </pc:spChg>
        <pc:spChg chg="add mod">
          <ac:chgData name="van Leeuwen  Sara (VPPL)" userId="7a5f1df4-0dd0-4c9e-a72f-a035cf318af6" providerId="ADAL" clId="{7F83441C-FBEE-4352-925F-0745A21765C9}" dt="2023-09-14T12:08:14.209" v="359" actId="1076"/>
          <ac:spMkLst>
            <pc:docMk/>
            <pc:sldMk cId="286829603" sldId="2339"/>
            <ac:spMk id="35" creationId="{25414BE8-4E73-27A2-3FFA-CFBF3946F190}"/>
          </ac:spMkLst>
        </pc:spChg>
        <pc:spChg chg="mod">
          <ac:chgData name="van Leeuwen  Sara (VPPL)" userId="7a5f1df4-0dd0-4c9e-a72f-a035cf318af6" providerId="ADAL" clId="{7F83441C-FBEE-4352-925F-0745A21765C9}" dt="2023-09-14T11:59:30.118" v="182" actId="1076"/>
          <ac:spMkLst>
            <pc:docMk/>
            <pc:sldMk cId="286829603" sldId="2339"/>
            <ac:spMk id="37" creationId="{00000000-0000-0000-0000-000000000000}"/>
          </ac:spMkLst>
        </pc:spChg>
        <pc:spChg chg="mod">
          <ac:chgData name="van Leeuwen  Sara (VPPL)" userId="7a5f1df4-0dd0-4c9e-a72f-a035cf318af6" providerId="ADAL" clId="{7F83441C-FBEE-4352-925F-0745A21765C9}" dt="2023-09-14T12:01:57.716" v="265" actId="20577"/>
          <ac:spMkLst>
            <pc:docMk/>
            <pc:sldMk cId="286829603" sldId="2339"/>
            <ac:spMk id="38" creationId="{00000000-0000-0000-0000-000000000000}"/>
          </ac:spMkLst>
        </pc:spChg>
        <pc:spChg chg="del mod">
          <ac:chgData name="van Leeuwen  Sara (VPPL)" userId="7a5f1df4-0dd0-4c9e-a72f-a035cf318af6" providerId="ADAL" clId="{7F83441C-FBEE-4352-925F-0745A21765C9}" dt="2023-09-14T11:59:23.323" v="181" actId="478"/>
          <ac:spMkLst>
            <pc:docMk/>
            <pc:sldMk cId="286829603" sldId="2339"/>
            <ac:spMk id="40" creationId="{00000000-0000-0000-0000-000000000000}"/>
          </ac:spMkLst>
        </pc:spChg>
        <pc:spChg chg="mod">
          <ac:chgData name="van Leeuwen  Sara (VPPL)" userId="7a5f1df4-0dd0-4c9e-a72f-a035cf318af6" providerId="ADAL" clId="{7F83441C-FBEE-4352-925F-0745A21765C9}" dt="2023-09-14T12:08:26.916" v="363" actId="1038"/>
          <ac:spMkLst>
            <pc:docMk/>
            <pc:sldMk cId="286829603" sldId="2339"/>
            <ac:spMk id="47" creationId="{00000000-0000-0000-0000-000000000000}"/>
          </ac:spMkLst>
        </pc:spChg>
        <pc:spChg chg="mod">
          <ac:chgData name="van Leeuwen  Sara (VPPL)" userId="7a5f1df4-0dd0-4c9e-a72f-a035cf318af6" providerId="ADAL" clId="{7F83441C-FBEE-4352-925F-0745A21765C9}" dt="2023-09-14T12:06:54.313" v="348" actId="20577"/>
          <ac:spMkLst>
            <pc:docMk/>
            <pc:sldMk cId="286829603" sldId="2339"/>
            <ac:spMk id="48" creationId="{00000000-0000-0000-0000-000000000000}"/>
          </ac:spMkLst>
        </pc:spChg>
        <pc:spChg chg="mod">
          <ac:chgData name="van Leeuwen  Sara (VPPL)" userId="7a5f1df4-0dd0-4c9e-a72f-a035cf318af6" providerId="ADAL" clId="{7F83441C-FBEE-4352-925F-0745A21765C9}" dt="2023-09-14T12:06:58.148" v="352" actId="20577"/>
          <ac:spMkLst>
            <pc:docMk/>
            <pc:sldMk cId="286829603" sldId="2339"/>
            <ac:spMk id="50" creationId="{00000000-0000-0000-0000-000000000000}"/>
          </ac:spMkLst>
        </pc:spChg>
        <pc:spChg chg="mod">
          <ac:chgData name="van Leeuwen  Sara (VPPL)" userId="7a5f1df4-0dd0-4c9e-a72f-a035cf318af6" providerId="ADAL" clId="{7F83441C-FBEE-4352-925F-0745A21765C9}" dt="2023-09-14T11:59:30.118" v="182" actId="1076"/>
          <ac:spMkLst>
            <pc:docMk/>
            <pc:sldMk cId="286829603" sldId="2339"/>
            <ac:spMk id="51" creationId="{00000000-0000-0000-0000-000000000000}"/>
          </ac:spMkLst>
        </pc:spChg>
        <pc:grpChg chg="add del mod">
          <ac:chgData name="van Leeuwen  Sara (VPPL)" userId="7a5f1df4-0dd0-4c9e-a72f-a035cf318af6" providerId="ADAL" clId="{7F83441C-FBEE-4352-925F-0745A21765C9}" dt="2023-09-14T12:02:28.666" v="267" actId="478"/>
          <ac:grpSpMkLst>
            <pc:docMk/>
            <pc:sldMk cId="286829603" sldId="2339"/>
            <ac:grpSpMk id="18" creationId="{E15120EC-BDA2-9ADD-7899-7A9FE1C23E91}"/>
          </ac:grpSpMkLst>
        </pc:grpChg>
        <pc:grpChg chg="del mod">
          <ac:chgData name="van Leeuwen  Sara (VPPL)" userId="7a5f1df4-0dd0-4c9e-a72f-a035cf318af6" providerId="ADAL" clId="{7F83441C-FBEE-4352-925F-0745A21765C9}" dt="2023-09-14T12:02:26.839" v="266" actId="478"/>
          <ac:grpSpMkLst>
            <pc:docMk/>
            <pc:sldMk cId="286829603" sldId="2339"/>
            <ac:grpSpMk id="55" creationId="{00000000-0000-0000-0000-000000000000}"/>
          </ac:grpSpMkLst>
        </pc:grpChg>
        <pc:cxnChg chg="mod">
          <ac:chgData name="van Leeuwen  Sara (VPPL)" userId="7a5f1df4-0dd0-4c9e-a72f-a035cf318af6" providerId="ADAL" clId="{7F83441C-FBEE-4352-925F-0745A21765C9}" dt="2023-09-14T11:59:31.517" v="183"/>
          <ac:cxnSpMkLst>
            <pc:docMk/>
            <pc:sldMk cId="286829603" sldId="2339"/>
            <ac:cxnSpMk id="19" creationId="{129B6B0A-3FA3-0873-3372-20ABFCAD7051}"/>
          </ac:cxnSpMkLst>
        </pc:cxnChg>
        <pc:cxnChg chg="mod">
          <ac:chgData name="van Leeuwen  Sara (VPPL)" userId="7a5f1df4-0dd0-4c9e-a72f-a035cf318af6" providerId="ADAL" clId="{7F83441C-FBEE-4352-925F-0745A21765C9}" dt="2023-09-14T11:59:31.517" v="183"/>
          <ac:cxnSpMkLst>
            <pc:docMk/>
            <pc:sldMk cId="286829603" sldId="2339"/>
            <ac:cxnSpMk id="20" creationId="{6BF83D28-5040-1C7E-9DDC-6345CF5A146C}"/>
          </ac:cxnSpMkLst>
        </pc:cxnChg>
        <pc:cxnChg chg="mod">
          <ac:chgData name="van Leeuwen  Sara (VPPL)" userId="7a5f1df4-0dd0-4c9e-a72f-a035cf318af6" providerId="ADAL" clId="{7F83441C-FBEE-4352-925F-0745A21765C9}" dt="2023-09-14T11:59:31.517" v="183"/>
          <ac:cxnSpMkLst>
            <pc:docMk/>
            <pc:sldMk cId="286829603" sldId="2339"/>
            <ac:cxnSpMk id="21" creationId="{6B903027-4F12-3BCF-CCC7-FFDB06B8C78B}"/>
          </ac:cxnSpMkLst>
        </pc:cxnChg>
      </pc:sldChg>
      <pc:sldChg chg="modSp add del mod">
        <pc:chgData name="van Leeuwen  Sara (VPPL)" userId="7a5f1df4-0dd0-4c9e-a72f-a035cf318af6" providerId="ADAL" clId="{7F83441C-FBEE-4352-925F-0745A21765C9}" dt="2023-09-14T12:43:02.138" v="864" actId="47"/>
        <pc:sldMkLst>
          <pc:docMk/>
          <pc:sldMk cId="3900891077" sldId="2341"/>
        </pc:sldMkLst>
        <pc:graphicFrameChg chg="mod">
          <ac:chgData name="van Leeuwen  Sara (VPPL)" userId="7a5f1df4-0dd0-4c9e-a72f-a035cf318af6" providerId="ADAL" clId="{7F83441C-FBEE-4352-925F-0745A21765C9}" dt="2023-09-14T12:42:38.493" v="863"/>
          <ac:graphicFrameMkLst>
            <pc:docMk/>
            <pc:sldMk cId="3900891077" sldId="2341"/>
            <ac:graphicFrameMk id="5" creationId="{77510928-A31D-3741-B2FD-537CBB99D84A}"/>
          </ac:graphicFrameMkLst>
        </pc:graphicFrameChg>
      </pc:sldChg>
      <pc:sldChg chg="del">
        <pc:chgData name="van Leeuwen  Sara (VPPL)" userId="7a5f1df4-0dd0-4c9e-a72f-a035cf318af6" providerId="ADAL" clId="{7F83441C-FBEE-4352-925F-0745A21765C9}" dt="2023-09-14T12:41:21.290" v="857" actId="47"/>
        <pc:sldMkLst>
          <pc:docMk/>
          <pc:sldMk cId="3031542448" sldId="2347"/>
        </pc:sldMkLst>
      </pc:sldChg>
      <pc:sldChg chg="del">
        <pc:chgData name="van Leeuwen  Sara (VPPL)" userId="7a5f1df4-0dd0-4c9e-a72f-a035cf318af6" providerId="ADAL" clId="{7F83441C-FBEE-4352-925F-0745A21765C9}" dt="2023-09-14T13:44:35.014" v="2670" actId="47"/>
        <pc:sldMkLst>
          <pc:docMk/>
          <pc:sldMk cId="1595565413" sldId="2349"/>
        </pc:sldMkLst>
      </pc:sldChg>
      <pc:sldChg chg="addSp delSp modSp mod">
        <pc:chgData name="van Leeuwen  Sara (VPPL)" userId="7a5f1df4-0dd0-4c9e-a72f-a035cf318af6" providerId="ADAL" clId="{7F83441C-FBEE-4352-925F-0745A21765C9}" dt="2023-09-14T16:50:37.804" v="2874"/>
        <pc:sldMkLst>
          <pc:docMk/>
          <pc:sldMk cId="1080794082" sldId="2363"/>
        </pc:sldMkLst>
        <pc:spChg chg="mod">
          <ac:chgData name="van Leeuwen  Sara (VPPL)" userId="7a5f1df4-0dd0-4c9e-a72f-a035cf318af6" providerId="ADAL" clId="{7F83441C-FBEE-4352-925F-0745A21765C9}" dt="2023-09-14T12:18:44.416" v="563" actId="948"/>
          <ac:spMkLst>
            <pc:docMk/>
            <pc:sldMk cId="1080794082" sldId="2363"/>
            <ac:spMk id="2" creationId="{00000000-0000-0000-0000-000000000000}"/>
          </ac:spMkLst>
        </pc:spChg>
        <pc:spChg chg="add del mod modVis">
          <ac:chgData name="van Leeuwen  Sara (VPPL)" userId="7a5f1df4-0dd0-4c9e-a72f-a035cf318af6" providerId="ADAL" clId="{7F83441C-FBEE-4352-925F-0745A21765C9}" dt="2023-09-14T12:18:41.246" v="419"/>
          <ac:spMkLst>
            <pc:docMk/>
            <pc:sldMk cId="1080794082" sldId="2363"/>
            <ac:spMk id="7" creationId="{3F25AA3F-5639-964D-CF7E-E5E4DA300F19}"/>
          </ac:spMkLst>
        </pc:spChg>
        <pc:spChg chg="add del mod modVis">
          <ac:chgData name="van Leeuwen  Sara (VPPL)" userId="7a5f1df4-0dd0-4c9e-a72f-a035cf318af6" providerId="ADAL" clId="{7F83441C-FBEE-4352-925F-0745A21765C9}" dt="2023-09-14T12:18:41.802" v="464"/>
          <ac:spMkLst>
            <pc:docMk/>
            <pc:sldMk cId="1080794082" sldId="2363"/>
            <ac:spMk id="8" creationId="{5E2A6B4D-6548-2D4E-57F6-8F8ACE62BB7B}"/>
          </ac:spMkLst>
        </pc:spChg>
        <pc:spChg chg="del mod">
          <ac:chgData name="van Leeuwen  Sara (VPPL)" userId="7a5f1df4-0dd0-4c9e-a72f-a035cf318af6" providerId="ADAL" clId="{7F83441C-FBEE-4352-925F-0745A21765C9}" dt="2023-09-14T13:02:48.959" v="1993" actId="478"/>
          <ac:spMkLst>
            <pc:docMk/>
            <pc:sldMk cId="1080794082" sldId="2363"/>
            <ac:spMk id="10" creationId="{00000000-0000-0000-0000-000000000000}"/>
          </ac:spMkLst>
        </pc:spChg>
        <pc:spChg chg="add del mod modVis">
          <ac:chgData name="van Leeuwen  Sara (VPPL)" userId="7a5f1df4-0dd0-4c9e-a72f-a035cf318af6" providerId="ADAL" clId="{7F83441C-FBEE-4352-925F-0745A21765C9}" dt="2023-09-14T12:18:42.603" v="510"/>
          <ac:spMkLst>
            <pc:docMk/>
            <pc:sldMk cId="1080794082" sldId="2363"/>
            <ac:spMk id="11" creationId="{42FBAE8B-ED57-8A92-AA5B-6DDAB7AC0D1D}"/>
          </ac:spMkLst>
        </pc:spChg>
        <pc:spChg chg="mod">
          <ac:chgData name="van Leeuwen  Sara (VPPL)" userId="7a5f1df4-0dd0-4c9e-a72f-a035cf318af6" providerId="ADAL" clId="{7F83441C-FBEE-4352-925F-0745A21765C9}" dt="2023-09-14T16:50:37.804" v="2874"/>
          <ac:spMkLst>
            <pc:docMk/>
            <pc:sldMk cId="1080794082" sldId="2363"/>
            <ac:spMk id="12" creationId="{D75AFB06-C0D5-C44A-AFA0-9276A7192873}"/>
          </ac:spMkLst>
        </pc:spChg>
        <pc:spChg chg="del">
          <ac:chgData name="van Leeuwen  Sara (VPPL)" userId="7a5f1df4-0dd0-4c9e-a72f-a035cf318af6" providerId="ADAL" clId="{7F83441C-FBEE-4352-925F-0745A21765C9}" dt="2023-09-14T12:19:59.105" v="608" actId="478"/>
          <ac:spMkLst>
            <pc:docMk/>
            <pc:sldMk cId="1080794082" sldId="2363"/>
            <ac:spMk id="13" creationId="{00000000-0000-0000-0000-000000000000}"/>
          </ac:spMkLst>
        </pc:spChg>
        <pc:spChg chg="del mod">
          <ac:chgData name="van Leeuwen  Sara (VPPL)" userId="7a5f1df4-0dd0-4c9e-a72f-a035cf318af6" providerId="ADAL" clId="{7F83441C-FBEE-4352-925F-0745A21765C9}" dt="2023-09-14T12:21:44.909" v="614" actId="478"/>
          <ac:spMkLst>
            <pc:docMk/>
            <pc:sldMk cId="1080794082" sldId="2363"/>
            <ac:spMk id="14" creationId="{00000000-0000-0000-0000-000000000000}"/>
          </ac:spMkLst>
        </pc:spChg>
        <pc:spChg chg="add del mod modVis">
          <ac:chgData name="van Leeuwen  Sara (VPPL)" userId="7a5f1df4-0dd0-4c9e-a72f-a035cf318af6" providerId="ADAL" clId="{7F83441C-FBEE-4352-925F-0745A21765C9}" dt="2023-09-14T12:18:43.485" v="557"/>
          <ac:spMkLst>
            <pc:docMk/>
            <pc:sldMk cId="1080794082" sldId="2363"/>
            <ac:spMk id="15" creationId="{0F91EB95-DD57-5A91-05DA-F6EE87A7D7BF}"/>
          </ac:spMkLst>
        </pc:spChg>
        <pc:spChg chg="add del mod modVis">
          <ac:chgData name="van Leeuwen  Sara (VPPL)" userId="7a5f1df4-0dd0-4c9e-a72f-a035cf318af6" providerId="ADAL" clId="{7F83441C-FBEE-4352-925F-0745A21765C9}" dt="2023-09-14T12:18:44.447" v="604"/>
          <ac:spMkLst>
            <pc:docMk/>
            <pc:sldMk cId="1080794082" sldId="2363"/>
            <ac:spMk id="16" creationId="{C0819ACC-B593-A252-5E14-7DCC340B49F4}"/>
          </ac:spMkLst>
        </pc:spChg>
        <pc:spChg chg="add mod">
          <ac:chgData name="van Leeuwen  Sara (VPPL)" userId="7a5f1df4-0dd0-4c9e-a72f-a035cf318af6" providerId="ADAL" clId="{7F83441C-FBEE-4352-925F-0745A21765C9}" dt="2023-09-14T12:25:42.796" v="671" actId="113"/>
          <ac:spMkLst>
            <pc:docMk/>
            <pc:sldMk cId="1080794082" sldId="2363"/>
            <ac:spMk id="19" creationId="{A0AA57D8-6525-B82E-1C62-1D086A2C61F0}"/>
          </ac:spMkLst>
        </pc:spChg>
        <pc:spChg chg="add mod">
          <ac:chgData name="van Leeuwen  Sara (VPPL)" userId="7a5f1df4-0dd0-4c9e-a72f-a035cf318af6" providerId="ADAL" clId="{7F83441C-FBEE-4352-925F-0745A21765C9}" dt="2023-09-14T12:25:46.284" v="672" actId="113"/>
          <ac:spMkLst>
            <pc:docMk/>
            <pc:sldMk cId="1080794082" sldId="2363"/>
            <ac:spMk id="20" creationId="{CF7B0E3C-915D-6129-4612-FFB31E8E9DE1}"/>
          </ac:spMkLst>
        </pc:spChg>
        <pc:spChg chg="add del">
          <ac:chgData name="van Leeuwen  Sara (VPPL)" userId="7a5f1df4-0dd0-4c9e-a72f-a035cf318af6" providerId="ADAL" clId="{7F83441C-FBEE-4352-925F-0745A21765C9}" dt="2023-09-14T12:27:25.380" v="696" actId="478"/>
          <ac:spMkLst>
            <pc:docMk/>
            <pc:sldMk cId="1080794082" sldId="2363"/>
            <ac:spMk id="23" creationId="{70A2129E-4D8C-B5F8-B695-903D905675D6}"/>
          </ac:spMkLst>
        </pc:spChg>
        <pc:spChg chg="add mod">
          <ac:chgData name="van Leeuwen  Sara (VPPL)" userId="7a5f1df4-0dd0-4c9e-a72f-a035cf318af6" providerId="ADAL" clId="{7F83441C-FBEE-4352-925F-0745A21765C9}" dt="2023-09-14T12:28:18.970" v="705" actId="113"/>
          <ac:spMkLst>
            <pc:docMk/>
            <pc:sldMk cId="1080794082" sldId="2363"/>
            <ac:spMk id="24" creationId="{75D38813-0E3F-5E16-F430-0CD6F710989C}"/>
          </ac:spMkLst>
        </pc:spChg>
        <pc:spChg chg="add del mod">
          <ac:chgData name="van Leeuwen  Sara (VPPL)" userId="7a5f1df4-0dd0-4c9e-a72f-a035cf318af6" providerId="ADAL" clId="{7F83441C-FBEE-4352-925F-0745A21765C9}" dt="2023-09-14T13:02:46.911" v="1992"/>
          <ac:spMkLst>
            <pc:docMk/>
            <pc:sldMk cId="1080794082" sldId="2363"/>
            <ac:spMk id="27" creationId="{21857EF7-C158-0A0D-5A7D-214A298809F5}"/>
          </ac:spMkLst>
        </pc:spChg>
        <pc:spChg chg="add mod">
          <ac:chgData name="van Leeuwen  Sara (VPPL)" userId="7a5f1df4-0dd0-4c9e-a72f-a035cf318af6" providerId="ADAL" clId="{7F83441C-FBEE-4352-925F-0745A21765C9}" dt="2023-09-14T13:37:33.619" v="2414" actId="1076"/>
          <ac:spMkLst>
            <pc:docMk/>
            <pc:sldMk cId="1080794082" sldId="2363"/>
            <ac:spMk id="28" creationId="{78A878A6-2955-34DC-8D75-4E2128930BD8}"/>
          </ac:spMkLst>
        </pc:spChg>
        <pc:graphicFrameChg chg="mod">
          <ac:chgData name="van Leeuwen  Sara (VPPL)" userId="7a5f1df4-0dd0-4c9e-a72f-a035cf318af6" providerId="ADAL" clId="{7F83441C-FBEE-4352-925F-0745A21765C9}" dt="2023-09-14T12:18:44.447" v="606"/>
          <ac:graphicFrameMkLst>
            <pc:docMk/>
            <pc:sldMk cId="1080794082" sldId="2363"/>
            <ac:graphicFrameMk id="5" creationId="{6CD3BF2A-4B05-1D82-BE24-6EDADE277B81}"/>
          </ac:graphicFrameMkLst>
        </pc:graphicFrameChg>
        <pc:picChg chg="add del mod">
          <ac:chgData name="van Leeuwen  Sara (VPPL)" userId="7a5f1df4-0dd0-4c9e-a72f-a035cf318af6" providerId="ADAL" clId="{7F83441C-FBEE-4352-925F-0745A21765C9}" dt="2023-09-14T12:21:16.309" v="613" actId="478"/>
          <ac:picMkLst>
            <pc:docMk/>
            <pc:sldMk cId="1080794082" sldId="2363"/>
            <ac:picMk id="18" creationId="{0F79A3A3-7384-AF29-AE98-E537FF4C0BD3}"/>
          </ac:picMkLst>
        </pc:picChg>
        <pc:picChg chg="add del mod">
          <ac:chgData name="van Leeuwen  Sara (VPPL)" userId="7a5f1df4-0dd0-4c9e-a72f-a035cf318af6" providerId="ADAL" clId="{7F83441C-FBEE-4352-925F-0745A21765C9}" dt="2023-09-14T12:25:36.566" v="669" actId="478"/>
          <ac:picMkLst>
            <pc:docMk/>
            <pc:sldMk cId="1080794082" sldId="2363"/>
            <ac:picMk id="22" creationId="{B4FB644B-75B7-936B-7D81-8E741AE98BA3}"/>
          </ac:picMkLst>
        </pc:picChg>
        <pc:picChg chg="add mod">
          <ac:chgData name="van Leeuwen  Sara (VPPL)" userId="7a5f1df4-0dd0-4c9e-a72f-a035cf318af6" providerId="ADAL" clId="{7F83441C-FBEE-4352-925F-0745A21765C9}" dt="2023-09-14T12:28:46.896" v="707" actId="1076"/>
          <ac:picMkLst>
            <pc:docMk/>
            <pc:sldMk cId="1080794082" sldId="2363"/>
            <ac:picMk id="26" creationId="{31E44439-1382-DDF9-F549-7C738C45232B}"/>
          </ac:picMkLst>
        </pc:picChg>
      </pc:sldChg>
      <pc:sldChg chg="modSp mod">
        <pc:chgData name="van Leeuwen  Sara (VPPL)" userId="7a5f1df4-0dd0-4c9e-a72f-a035cf318af6" providerId="ADAL" clId="{7F83441C-FBEE-4352-925F-0745A21765C9}" dt="2023-09-14T18:10:40.358" v="6894" actId="20577"/>
        <pc:sldMkLst>
          <pc:docMk/>
          <pc:sldMk cId="1900787555" sldId="2369"/>
        </pc:sldMkLst>
        <pc:spChg chg="mod">
          <ac:chgData name="van Leeuwen  Sara (VPPL)" userId="7a5f1df4-0dd0-4c9e-a72f-a035cf318af6" providerId="ADAL" clId="{7F83441C-FBEE-4352-925F-0745A21765C9}" dt="2023-09-14T18:09:50.935" v="6781" actId="948"/>
          <ac:spMkLst>
            <pc:docMk/>
            <pc:sldMk cId="1900787555" sldId="2369"/>
            <ac:spMk id="2" creationId="{FC65B3EF-08EF-432C-BEBF-CB2B499FB533}"/>
          </ac:spMkLst>
        </pc:spChg>
        <pc:spChg chg="mod">
          <ac:chgData name="van Leeuwen  Sara (VPPL)" userId="7a5f1df4-0dd0-4c9e-a72f-a035cf318af6" providerId="ADAL" clId="{7F83441C-FBEE-4352-925F-0745A21765C9}" dt="2023-09-14T18:10:40.358" v="6894" actId="20577"/>
          <ac:spMkLst>
            <pc:docMk/>
            <pc:sldMk cId="1900787555" sldId="2369"/>
            <ac:spMk id="3" creationId="{D248A836-D270-48AC-93BC-E789F2E8E734}"/>
          </ac:spMkLst>
        </pc:spChg>
        <pc:spChg chg="mod">
          <ac:chgData name="van Leeuwen  Sara (VPPL)" userId="7a5f1df4-0dd0-4c9e-a72f-a035cf318af6" providerId="ADAL" clId="{7F83441C-FBEE-4352-925F-0745A21765C9}" dt="2023-09-14T16:46:47.376" v="2838"/>
          <ac:spMkLst>
            <pc:docMk/>
            <pc:sldMk cId="1900787555" sldId="2369"/>
            <ac:spMk id="5" creationId="{B057CD9C-7E82-4EE5-8D4A-CF1F831FF9E4}"/>
          </ac:spMkLst>
        </pc:spChg>
        <pc:graphicFrameChg chg="mod">
          <ac:chgData name="van Leeuwen  Sara (VPPL)" userId="7a5f1df4-0dd0-4c9e-a72f-a035cf318af6" providerId="ADAL" clId="{7F83441C-FBEE-4352-925F-0745A21765C9}" dt="2023-09-14T18:09:50.935" v="6785"/>
          <ac:graphicFrameMkLst>
            <pc:docMk/>
            <pc:sldMk cId="1900787555" sldId="2369"/>
            <ac:graphicFrameMk id="10" creationId="{5CEC7E4B-C0D8-8565-2536-A0AED66D6795}"/>
          </ac:graphicFrameMkLst>
        </pc:graphicFrameChg>
      </pc:sldChg>
      <pc:sldChg chg="addSp delSp modSp mod">
        <pc:chgData name="van Leeuwen  Sara (VPPL)" userId="7a5f1df4-0dd0-4c9e-a72f-a035cf318af6" providerId="ADAL" clId="{7F83441C-FBEE-4352-925F-0745A21765C9}" dt="2023-09-14T18:16:05.221" v="6962"/>
        <pc:sldMkLst>
          <pc:docMk/>
          <pc:sldMk cId="2700500582" sldId="2374"/>
        </pc:sldMkLst>
        <pc:spChg chg="mod">
          <ac:chgData name="van Leeuwen  Sara (VPPL)" userId="7a5f1df4-0dd0-4c9e-a72f-a035cf318af6" providerId="ADAL" clId="{7F83441C-FBEE-4352-925F-0745A21765C9}" dt="2023-09-14T16:49:50.586" v="2865"/>
          <ac:spMkLst>
            <pc:docMk/>
            <pc:sldMk cId="2700500582" sldId="2374"/>
            <ac:spMk id="8" creationId="{D75AFB06-C0D5-C44A-AFA0-9276A7192873}"/>
          </ac:spMkLst>
        </pc:spChg>
        <pc:spChg chg="add del mod">
          <ac:chgData name="van Leeuwen  Sara (VPPL)" userId="7a5f1df4-0dd0-4c9e-a72f-a035cf318af6" providerId="ADAL" clId="{7F83441C-FBEE-4352-925F-0745A21765C9}" dt="2023-09-14T12:00:56.928" v="231"/>
          <ac:spMkLst>
            <pc:docMk/>
            <pc:sldMk cId="2700500582" sldId="2374"/>
            <ac:spMk id="12" creationId="{CB2154DD-BB48-9EEA-9949-A157D801E53A}"/>
          </ac:spMkLst>
        </pc:spChg>
        <pc:spChg chg="add mod">
          <ac:chgData name="van Leeuwen  Sara (VPPL)" userId="7a5f1df4-0dd0-4c9e-a72f-a035cf318af6" providerId="ADAL" clId="{7F83441C-FBEE-4352-925F-0745A21765C9}" dt="2023-09-14T18:16:05.221" v="6962"/>
          <ac:spMkLst>
            <pc:docMk/>
            <pc:sldMk cId="2700500582" sldId="2374"/>
            <ac:spMk id="13" creationId="{98D738A7-07A9-E3AD-32A3-73C8537729F5}"/>
          </ac:spMkLst>
        </pc:spChg>
      </pc:sldChg>
      <pc:sldChg chg="modSp mod">
        <pc:chgData name="van Leeuwen  Sara (VPPL)" userId="7a5f1df4-0dd0-4c9e-a72f-a035cf318af6" providerId="ADAL" clId="{7F83441C-FBEE-4352-925F-0745A21765C9}" dt="2023-09-14T17:19:11.095" v="2892" actId="14100"/>
        <pc:sldMkLst>
          <pc:docMk/>
          <pc:sldMk cId="3233872304" sldId="2379"/>
        </pc:sldMkLst>
        <pc:spChg chg="mod">
          <ac:chgData name="van Leeuwen  Sara (VPPL)" userId="7a5f1df4-0dd0-4c9e-a72f-a035cf318af6" providerId="ADAL" clId="{7F83441C-FBEE-4352-925F-0745A21765C9}" dt="2023-09-14T17:19:11.095" v="2892" actId="14100"/>
          <ac:spMkLst>
            <pc:docMk/>
            <pc:sldMk cId="3233872304" sldId="2379"/>
            <ac:spMk id="8" creationId="{AC1FB292-90C1-439C-8480-EB4116CF2374}"/>
          </ac:spMkLst>
        </pc:spChg>
      </pc:sldChg>
      <pc:sldChg chg="del ord">
        <pc:chgData name="van Leeuwen  Sara (VPPL)" userId="7a5f1df4-0dd0-4c9e-a72f-a035cf318af6" providerId="ADAL" clId="{7F83441C-FBEE-4352-925F-0745A21765C9}" dt="2023-09-14T13:49:30.081" v="2825" actId="2696"/>
        <pc:sldMkLst>
          <pc:docMk/>
          <pc:sldMk cId="1284695877" sldId="2382"/>
        </pc:sldMkLst>
      </pc:sldChg>
      <pc:sldChg chg="addSp modSp add mod">
        <pc:chgData name="van Leeuwen  Sara (VPPL)" userId="7a5f1df4-0dd0-4c9e-a72f-a035cf318af6" providerId="ADAL" clId="{7F83441C-FBEE-4352-925F-0745A21765C9}" dt="2023-09-14T18:21:54.563" v="6989" actId="1076"/>
        <pc:sldMkLst>
          <pc:docMk/>
          <pc:sldMk cId="1734056380" sldId="2382"/>
        </pc:sldMkLst>
        <pc:spChg chg="add mod">
          <ac:chgData name="van Leeuwen  Sara (VPPL)" userId="7a5f1df4-0dd0-4c9e-a72f-a035cf318af6" providerId="ADAL" clId="{7F83441C-FBEE-4352-925F-0745A21765C9}" dt="2023-09-14T18:21:54.563" v="6989" actId="1076"/>
          <ac:spMkLst>
            <pc:docMk/>
            <pc:sldMk cId="1734056380" sldId="2382"/>
            <ac:spMk id="7" creationId="{7CBD4836-0DAE-D3D0-C715-BD7C4D091132}"/>
          </ac:spMkLst>
        </pc:spChg>
        <pc:spChg chg="mod">
          <ac:chgData name="van Leeuwen  Sara (VPPL)" userId="7a5f1df4-0dd0-4c9e-a72f-a035cf318af6" providerId="ADAL" clId="{7F83441C-FBEE-4352-925F-0745A21765C9}" dt="2023-09-14T16:49:39.003" v="2862"/>
          <ac:spMkLst>
            <pc:docMk/>
            <pc:sldMk cId="1734056380" sldId="2382"/>
            <ac:spMk id="8" creationId="{D75AFB06-C0D5-C44A-AFA0-9276A7192873}"/>
          </ac:spMkLst>
        </pc:spChg>
      </pc:sldChg>
      <pc:sldChg chg="delSp del mod">
        <pc:chgData name="van Leeuwen  Sara (VPPL)" userId="7a5f1df4-0dd0-4c9e-a72f-a035cf318af6" providerId="ADAL" clId="{7F83441C-FBEE-4352-925F-0745A21765C9}" dt="2023-09-14T13:50:09.121" v="2830" actId="47"/>
        <pc:sldMkLst>
          <pc:docMk/>
          <pc:sldMk cId="4131565708" sldId="2386"/>
        </pc:sldMkLst>
        <pc:spChg chg="del">
          <ac:chgData name="van Leeuwen  Sara (VPPL)" userId="7a5f1df4-0dd0-4c9e-a72f-a035cf318af6" providerId="ADAL" clId="{7F83441C-FBEE-4352-925F-0745A21765C9}" dt="2023-09-14T13:50:02.833" v="2828" actId="21"/>
          <ac:spMkLst>
            <pc:docMk/>
            <pc:sldMk cId="4131565708" sldId="2386"/>
            <ac:spMk id="11" creationId="{730DD365-6EDB-43B5-A5F0-3694C874CCFC}"/>
          </ac:spMkLst>
        </pc:spChg>
      </pc:sldChg>
      <pc:sldChg chg="del">
        <pc:chgData name="van Leeuwen  Sara (VPPL)" userId="7a5f1df4-0dd0-4c9e-a72f-a035cf318af6" providerId="ADAL" clId="{7F83441C-FBEE-4352-925F-0745A21765C9}" dt="2023-09-14T13:44:35.124" v="2671" actId="47"/>
        <pc:sldMkLst>
          <pc:docMk/>
          <pc:sldMk cId="1606784056" sldId="2387"/>
        </pc:sldMkLst>
      </pc:sldChg>
      <pc:sldChg chg="addSp delSp modSp mod">
        <pc:chgData name="van Leeuwen  Sara (VPPL)" userId="7a5f1df4-0dd0-4c9e-a72f-a035cf318af6" providerId="ADAL" clId="{7F83441C-FBEE-4352-925F-0745A21765C9}" dt="2023-09-14T16:52:06.570" v="2887"/>
        <pc:sldMkLst>
          <pc:docMk/>
          <pc:sldMk cId="1769867695" sldId="2392"/>
        </pc:sldMkLst>
        <pc:spChg chg="mod">
          <ac:chgData name="van Leeuwen  Sara (VPPL)" userId="7a5f1df4-0dd0-4c9e-a72f-a035cf318af6" providerId="ADAL" clId="{7F83441C-FBEE-4352-925F-0745A21765C9}" dt="2023-09-14T16:52:06.570" v="2887"/>
          <ac:spMkLst>
            <pc:docMk/>
            <pc:sldMk cId="1769867695" sldId="2392"/>
            <ac:spMk id="8" creationId="{D75AFB06-C0D5-C44A-AFA0-9276A7192873}"/>
          </ac:spMkLst>
        </pc:spChg>
        <pc:spChg chg="add mod">
          <ac:chgData name="van Leeuwen  Sara (VPPL)" userId="7a5f1df4-0dd0-4c9e-a72f-a035cf318af6" providerId="ADAL" clId="{7F83441C-FBEE-4352-925F-0745A21765C9}" dt="2023-09-14T12:01:28.232" v="238" actId="108"/>
          <ac:spMkLst>
            <pc:docMk/>
            <pc:sldMk cId="1769867695" sldId="2392"/>
            <ac:spMk id="9" creationId="{5C1197DD-DFB9-D466-CA64-DF4F078EF8F3}"/>
          </ac:spMkLst>
        </pc:spChg>
        <pc:spChg chg="add del mod">
          <ac:chgData name="van Leeuwen  Sara (VPPL)" userId="7a5f1df4-0dd0-4c9e-a72f-a035cf318af6" providerId="ADAL" clId="{7F83441C-FBEE-4352-925F-0745A21765C9}" dt="2023-09-14T16:51:53.990" v="2886"/>
          <ac:spMkLst>
            <pc:docMk/>
            <pc:sldMk cId="1769867695" sldId="2392"/>
            <ac:spMk id="11" creationId="{21E75120-FBC8-9264-6C8D-3A10AB3CA3ED}"/>
          </ac:spMkLst>
        </pc:spChg>
      </pc:sldChg>
      <pc:sldChg chg="modSp mod">
        <pc:chgData name="van Leeuwen  Sara (VPPL)" userId="7a5f1df4-0dd0-4c9e-a72f-a035cf318af6" providerId="ADAL" clId="{7F83441C-FBEE-4352-925F-0745A21765C9}" dt="2023-09-14T17:19:42.491" v="2961" actId="20577"/>
        <pc:sldMkLst>
          <pc:docMk/>
          <pc:sldMk cId="2631741042" sldId="2394"/>
        </pc:sldMkLst>
        <pc:spChg chg="mod">
          <ac:chgData name="van Leeuwen  Sara (VPPL)" userId="7a5f1df4-0dd0-4c9e-a72f-a035cf318af6" providerId="ADAL" clId="{7F83441C-FBEE-4352-925F-0745A21765C9}" dt="2023-09-14T17:19:42.491" v="2961" actId="20577"/>
          <ac:spMkLst>
            <pc:docMk/>
            <pc:sldMk cId="2631741042" sldId="2394"/>
            <ac:spMk id="3" creationId="{E9BBD3EE-C606-408E-8853-A8E4F45E02CE}"/>
          </ac:spMkLst>
        </pc:spChg>
        <pc:spChg chg="mod">
          <ac:chgData name="van Leeuwen  Sara (VPPL)" userId="7a5f1df4-0dd0-4c9e-a72f-a035cf318af6" providerId="ADAL" clId="{7F83441C-FBEE-4352-925F-0745A21765C9}" dt="2023-09-14T12:58:25.895" v="1694"/>
          <ac:spMkLst>
            <pc:docMk/>
            <pc:sldMk cId="2631741042" sldId="2394"/>
            <ac:spMk id="5" creationId="{0DF16D9C-E39F-48C7-B71A-BE99D6CB0F36}"/>
          </ac:spMkLst>
        </pc:spChg>
      </pc:sldChg>
      <pc:sldChg chg="addSp delSp modSp mod">
        <pc:chgData name="van Leeuwen  Sara (VPPL)" userId="7a5f1df4-0dd0-4c9e-a72f-a035cf318af6" providerId="ADAL" clId="{7F83441C-FBEE-4352-925F-0745A21765C9}" dt="2023-09-14T18:16:18.008" v="6963" actId="255"/>
        <pc:sldMkLst>
          <pc:docMk/>
          <pc:sldMk cId="282434247" sldId="2395"/>
        </pc:sldMkLst>
        <pc:spChg chg="mod">
          <ac:chgData name="van Leeuwen  Sara (VPPL)" userId="7a5f1df4-0dd0-4c9e-a72f-a035cf318af6" providerId="ADAL" clId="{7F83441C-FBEE-4352-925F-0745A21765C9}" dt="2023-09-14T18:16:18.008" v="6963" actId="255"/>
          <ac:spMkLst>
            <pc:docMk/>
            <pc:sldMk cId="282434247" sldId="2395"/>
            <ac:spMk id="3" creationId="{E9BBD3EE-C606-408E-8853-A8E4F45E02CE}"/>
          </ac:spMkLst>
        </pc:spChg>
        <pc:spChg chg="mod">
          <ac:chgData name="van Leeuwen  Sara (VPPL)" userId="7a5f1df4-0dd0-4c9e-a72f-a035cf318af6" providerId="ADAL" clId="{7F83441C-FBEE-4352-925F-0745A21765C9}" dt="2023-09-14T16:50:00.751" v="2867"/>
          <ac:spMkLst>
            <pc:docMk/>
            <pc:sldMk cId="282434247" sldId="2395"/>
            <ac:spMk id="5" creationId="{0DF16D9C-E39F-48C7-B71A-BE99D6CB0F36}"/>
          </ac:spMkLst>
        </pc:spChg>
        <pc:spChg chg="add del mod">
          <ac:chgData name="van Leeuwen  Sara (VPPL)" userId="7a5f1df4-0dd0-4c9e-a72f-a035cf318af6" providerId="ADAL" clId="{7F83441C-FBEE-4352-925F-0745A21765C9}" dt="2023-09-14T16:51:41.495" v="2884"/>
          <ac:spMkLst>
            <pc:docMk/>
            <pc:sldMk cId="282434247" sldId="2395"/>
            <ac:spMk id="13" creationId="{590F77D2-4698-F342-A72F-84F70058A9D6}"/>
          </ac:spMkLst>
        </pc:spChg>
      </pc:sldChg>
      <pc:sldChg chg="del ord">
        <pc:chgData name="van Leeuwen  Sara (VPPL)" userId="7a5f1df4-0dd0-4c9e-a72f-a035cf318af6" providerId="ADAL" clId="{7F83441C-FBEE-4352-925F-0745A21765C9}" dt="2023-09-14T13:49:30.081" v="2825" actId="2696"/>
        <pc:sldMkLst>
          <pc:docMk/>
          <pc:sldMk cId="533780484" sldId="2397"/>
        </pc:sldMkLst>
      </pc:sldChg>
      <pc:sldChg chg="addSp modSp add mod">
        <pc:chgData name="van Leeuwen  Sara (VPPL)" userId="7a5f1df4-0dd0-4c9e-a72f-a035cf318af6" providerId="ADAL" clId="{7F83441C-FBEE-4352-925F-0745A21765C9}" dt="2023-09-14T17:21:22.008" v="3097"/>
        <pc:sldMkLst>
          <pc:docMk/>
          <pc:sldMk cId="2664544122" sldId="2397"/>
        </pc:sldMkLst>
        <pc:spChg chg="add mod">
          <ac:chgData name="van Leeuwen  Sara (VPPL)" userId="7a5f1df4-0dd0-4c9e-a72f-a035cf318af6" providerId="ADAL" clId="{7F83441C-FBEE-4352-925F-0745A21765C9}" dt="2023-09-14T17:21:22.008" v="3097"/>
          <ac:spMkLst>
            <pc:docMk/>
            <pc:sldMk cId="2664544122" sldId="2397"/>
            <ac:spMk id="7" creationId="{BBE013B7-771F-499E-B672-1096E6166067}"/>
          </ac:spMkLst>
        </pc:spChg>
        <pc:spChg chg="mod">
          <ac:chgData name="van Leeuwen  Sara (VPPL)" userId="7a5f1df4-0dd0-4c9e-a72f-a035cf318af6" providerId="ADAL" clId="{7F83441C-FBEE-4352-925F-0745A21765C9}" dt="2023-09-14T16:49:42.898" v="2863"/>
          <ac:spMkLst>
            <pc:docMk/>
            <pc:sldMk cId="2664544122" sldId="2397"/>
            <ac:spMk id="8" creationId="{D75AFB06-C0D5-C44A-AFA0-9276A7192873}"/>
          </ac:spMkLst>
        </pc:spChg>
      </pc:sldChg>
      <pc:sldChg chg="addSp delSp modSp mod">
        <pc:chgData name="van Leeuwen  Sara (VPPL)" userId="7a5f1df4-0dd0-4c9e-a72f-a035cf318af6" providerId="ADAL" clId="{7F83441C-FBEE-4352-925F-0745A21765C9}" dt="2023-09-14T18:19:37.328" v="6983" actId="20577"/>
        <pc:sldMkLst>
          <pc:docMk/>
          <pc:sldMk cId="54911923" sldId="2398"/>
        </pc:sldMkLst>
        <pc:spChg chg="del mod">
          <ac:chgData name="van Leeuwen  Sara (VPPL)" userId="7a5f1df4-0dd0-4c9e-a72f-a035cf318af6" providerId="ADAL" clId="{7F83441C-FBEE-4352-925F-0745A21765C9}" dt="2023-09-14T16:51:22.183" v="2881" actId="478"/>
          <ac:spMkLst>
            <pc:docMk/>
            <pc:sldMk cId="54911923" sldId="2398"/>
            <ac:spMk id="5" creationId="{87FCD42A-F1D2-4DF0-91E9-79543C5EA909}"/>
          </ac:spMkLst>
        </pc:spChg>
        <pc:spChg chg="add mod">
          <ac:chgData name="van Leeuwen  Sara (VPPL)" userId="7a5f1df4-0dd0-4c9e-a72f-a035cf318af6" providerId="ADAL" clId="{7F83441C-FBEE-4352-925F-0745A21765C9}" dt="2023-09-14T16:51:27.655" v="2882"/>
          <ac:spMkLst>
            <pc:docMk/>
            <pc:sldMk cId="54911923" sldId="2398"/>
            <ac:spMk id="22" creationId="{CD6A7308-16BD-0457-C9AD-D60ED7C5E243}"/>
          </ac:spMkLst>
        </pc:spChg>
        <pc:spChg chg="mod">
          <ac:chgData name="van Leeuwen  Sara (VPPL)" userId="7a5f1df4-0dd0-4c9e-a72f-a035cf318af6" providerId="ADAL" clId="{7F83441C-FBEE-4352-925F-0745A21765C9}" dt="2023-09-14T18:19:37.328" v="6983" actId="20577"/>
          <ac:spMkLst>
            <pc:docMk/>
            <pc:sldMk cId="54911923" sldId="2398"/>
            <ac:spMk id="37" creationId="{166FA689-72C3-40C8-B811-164178E71FB6}"/>
          </ac:spMkLst>
        </pc:spChg>
      </pc:sldChg>
      <pc:sldChg chg="modSp mod">
        <pc:chgData name="van Leeuwen  Sara (VPPL)" userId="7a5f1df4-0dd0-4c9e-a72f-a035cf318af6" providerId="ADAL" clId="{7F83441C-FBEE-4352-925F-0745A21765C9}" dt="2023-09-14T16:52:23.853" v="2889"/>
        <pc:sldMkLst>
          <pc:docMk/>
          <pc:sldMk cId="1578806444" sldId="2407"/>
        </pc:sldMkLst>
        <pc:spChg chg="mod">
          <ac:chgData name="van Leeuwen  Sara (VPPL)" userId="7a5f1df4-0dd0-4c9e-a72f-a035cf318af6" providerId="ADAL" clId="{7F83441C-FBEE-4352-925F-0745A21765C9}" dt="2023-09-14T16:52:23.853" v="2889"/>
          <ac:spMkLst>
            <pc:docMk/>
            <pc:sldMk cId="1578806444" sldId="2407"/>
            <ac:spMk id="5" creationId="{85D9BC9D-3DA7-45F6-B926-A87C277DD9F8}"/>
          </ac:spMkLst>
        </pc:spChg>
      </pc:sldChg>
      <pc:sldChg chg="modSp mod">
        <pc:chgData name="van Leeuwen  Sara (VPPL)" userId="7a5f1df4-0dd0-4c9e-a72f-a035cf318af6" providerId="ADAL" clId="{7F83441C-FBEE-4352-925F-0745A21765C9}" dt="2023-09-14T16:50:13.679" v="2870"/>
        <pc:sldMkLst>
          <pc:docMk/>
          <pc:sldMk cId="2354758104" sldId="2408"/>
        </pc:sldMkLst>
        <pc:spChg chg="mod">
          <ac:chgData name="van Leeuwen  Sara (VPPL)" userId="7a5f1df4-0dd0-4c9e-a72f-a035cf318af6" providerId="ADAL" clId="{7F83441C-FBEE-4352-925F-0745A21765C9}" dt="2023-09-14T16:50:13.679" v="2870"/>
          <ac:spMkLst>
            <pc:docMk/>
            <pc:sldMk cId="2354758104" sldId="2408"/>
            <ac:spMk id="8" creationId="{D75AFB06-C0D5-C44A-AFA0-9276A7192873}"/>
          </ac:spMkLst>
        </pc:spChg>
        <pc:graphicFrameChg chg="mod modGraphic">
          <ac:chgData name="van Leeuwen  Sara (VPPL)" userId="7a5f1df4-0dd0-4c9e-a72f-a035cf318af6" providerId="ADAL" clId="{7F83441C-FBEE-4352-925F-0745A21765C9}" dt="2023-09-14T12:36:42.936" v="839" actId="14100"/>
          <ac:graphicFrameMkLst>
            <pc:docMk/>
            <pc:sldMk cId="2354758104" sldId="2408"/>
            <ac:graphicFrameMk id="10" creationId="{9B7E8B9D-5F9A-4F11-B14F-FECAB6CF2579}"/>
          </ac:graphicFrameMkLst>
        </pc:graphicFrameChg>
      </pc:sldChg>
      <pc:sldChg chg="del">
        <pc:chgData name="van Leeuwen  Sara (VPPL)" userId="7a5f1df4-0dd0-4c9e-a72f-a035cf318af6" providerId="ADAL" clId="{7F83441C-FBEE-4352-925F-0745A21765C9}" dt="2023-09-14T12:13:02.123" v="370" actId="47"/>
        <pc:sldMkLst>
          <pc:docMk/>
          <pc:sldMk cId="3070690106" sldId="2409"/>
        </pc:sldMkLst>
      </pc:sldChg>
      <pc:sldChg chg="modSp del mod">
        <pc:chgData name="van Leeuwen  Sara (VPPL)" userId="7a5f1df4-0dd0-4c9e-a72f-a035cf318af6" providerId="ADAL" clId="{7F83441C-FBEE-4352-925F-0745A21765C9}" dt="2023-09-14T18:21:19.132" v="6988" actId="47"/>
        <pc:sldMkLst>
          <pc:docMk/>
          <pc:sldMk cId="1776128425" sldId="2412"/>
        </pc:sldMkLst>
        <pc:spChg chg="mod">
          <ac:chgData name="van Leeuwen  Sara (VPPL)" userId="7a5f1df4-0dd0-4c9e-a72f-a035cf318af6" providerId="ADAL" clId="{7F83441C-FBEE-4352-925F-0745A21765C9}" dt="2023-09-14T18:20:33.374" v="6984" actId="1076"/>
          <ac:spMkLst>
            <pc:docMk/>
            <pc:sldMk cId="1776128425" sldId="2412"/>
            <ac:spMk id="7" creationId="{4EEF28D3-ECB8-4C59-9270-E65402E2F891}"/>
          </ac:spMkLst>
        </pc:spChg>
        <pc:spChg chg="mod">
          <ac:chgData name="van Leeuwen  Sara (VPPL)" userId="7a5f1df4-0dd0-4c9e-a72f-a035cf318af6" providerId="ADAL" clId="{7F83441C-FBEE-4352-925F-0745A21765C9}" dt="2023-09-14T18:21:04.994" v="6985" actId="1076"/>
          <ac:spMkLst>
            <pc:docMk/>
            <pc:sldMk cId="1776128425" sldId="2412"/>
            <ac:spMk id="9" creationId="{0E2807F2-D9BD-433B-B6EF-CF115AF7F215}"/>
          </ac:spMkLst>
        </pc:spChg>
      </pc:sldChg>
      <pc:sldChg chg="del">
        <pc:chgData name="van Leeuwen  Sara (VPPL)" userId="7a5f1df4-0dd0-4c9e-a72f-a035cf318af6" providerId="ADAL" clId="{7F83441C-FBEE-4352-925F-0745A21765C9}" dt="2023-09-14T12:12:54.579" v="368" actId="47"/>
        <pc:sldMkLst>
          <pc:docMk/>
          <pc:sldMk cId="2403091856" sldId="2413"/>
        </pc:sldMkLst>
      </pc:sldChg>
      <pc:sldChg chg="addSp modSp mod">
        <pc:chgData name="van Leeuwen  Sara (VPPL)" userId="7a5f1df4-0dd0-4c9e-a72f-a035cf318af6" providerId="ADAL" clId="{7F83441C-FBEE-4352-925F-0745A21765C9}" dt="2023-09-14T16:50:17.689" v="2871"/>
        <pc:sldMkLst>
          <pc:docMk/>
          <pc:sldMk cId="456252200" sldId="2414"/>
        </pc:sldMkLst>
        <pc:spChg chg="mod">
          <ac:chgData name="van Leeuwen  Sara (VPPL)" userId="7a5f1df4-0dd0-4c9e-a72f-a035cf318af6" providerId="ADAL" clId="{7F83441C-FBEE-4352-925F-0745A21765C9}" dt="2023-09-14T16:50:17.689" v="2871"/>
          <ac:spMkLst>
            <pc:docMk/>
            <pc:sldMk cId="456252200" sldId="2414"/>
            <ac:spMk id="8" creationId="{D75AFB06-C0D5-C44A-AFA0-9276A7192873}"/>
          </ac:spMkLst>
        </pc:spChg>
        <pc:graphicFrameChg chg="add mod modGraphic">
          <ac:chgData name="van Leeuwen  Sara (VPPL)" userId="7a5f1df4-0dd0-4c9e-a72f-a035cf318af6" providerId="ADAL" clId="{7F83441C-FBEE-4352-925F-0745A21765C9}" dt="2023-09-14T12:37:46.773" v="842" actId="207"/>
          <ac:graphicFrameMkLst>
            <pc:docMk/>
            <pc:sldMk cId="456252200" sldId="2414"/>
            <ac:graphicFrameMk id="7" creationId="{E28215B8-1D8F-71F5-5163-55814B542277}"/>
          </ac:graphicFrameMkLst>
        </pc:graphicFrameChg>
      </pc:sldChg>
      <pc:sldChg chg="addSp modSp mod">
        <pc:chgData name="van Leeuwen  Sara (VPPL)" userId="7a5f1df4-0dd0-4c9e-a72f-a035cf318af6" providerId="ADAL" clId="{7F83441C-FBEE-4352-925F-0745A21765C9}" dt="2023-09-14T16:50:34.251" v="2873"/>
        <pc:sldMkLst>
          <pc:docMk/>
          <pc:sldMk cId="1201837209" sldId="2415"/>
        </pc:sldMkLst>
        <pc:spChg chg="mod">
          <ac:chgData name="van Leeuwen  Sara (VPPL)" userId="7a5f1df4-0dd0-4c9e-a72f-a035cf318af6" providerId="ADAL" clId="{7F83441C-FBEE-4352-925F-0745A21765C9}" dt="2023-09-14T16:50:34.251" v="2873"/>
          <ac:spMkLst>
            <pc:docMk/>
            <pc:sldMk cId="1201837209" sldId="2415"/>
            <ac:spMk id="8" creationId="{D75AFB06-C0D5-C44A-AFA0-9276A7192873}"/>
          </ac:spMkLst>
        </pc:spChg>
        <pc:graphicFrameChg chg="add mod modGraphic">
          <ac:chgData name="van Leeuwen  Sara (VPPL)" userId="7a5f1df4-0dd0-4c9e-a72f-a035cf318af6" providerId="ADAL" clId="{7F83441C-FBEE-4352-925F-0745A21765C9}" dt="2023-09-14T12:38:36.817" v="845" actId="207"/>
          <ac:graphicFrameMkLst>
            <pc:docMk/>
            <pc:sldMk cId="1201837209" sldId="2415"/>
            <ac:graphicFrameMk id="7" creationId="{CB071684-A6F4-AD2D-614B-7C0DA5000E7A}"/>
          </ac:graphicFrameMkLst>
        </pc:graphicFrameChg>
      </pc:sldChg>
      <pc:sldChg chg="modSp del mod">
        <pc:chgData name="van Leeuwen  Sara (VPPL)" userId="7a5f1df4-0dd0-4c9e-a72f-a035cf318af6" providerId="ADAL" clId="{7F83441C-FBEE-4352-925F-0745A21765C9}" dt="2023-09-14T12:39:09.056" v="848" actId="47"/>
        <pc:sldMkLst>
          <pc:docMk/>
          <pc:sldMk cId="3687683416" sldId="2416"/>
        </pc:sldMkLst>
        <pc:graphicFrameChg chg="modGraphic">
          <ac:chgData name="van Leeuwen  Sara (VPPL)" userId="7a5f1df4-0dd0-4c9e-a72f-a035cf318af6" providerId="ADAL" clId="{7F83441C-FBEE-4352-925F-0745A21765C9}" dt="2023-09-14T12:29:13.175" v="724" actId="20577"/>
          <ac:graphicFrameMkLst>
            <pc:docMk/>
            <pc:sldMk cId="3687683416" sldId="2416"/>
            <ac:graphicFrameMk id="10" creationId="{9B7E8B9D-5F9A-4F11-B14F-FECAB6CF2579}"/>
          </ac:graphicFrameMkLst>
        </pc:graphicFrameChg>
      </pc:sldChg>
      <pc:sldChg chg="del">
        <pc:chgData name="van Leeuwen  Sara (VPPL)" userId="7a5f1df4-0dd0-4c9e-a72f-a035cf318af6" providerId="ADAL" clId="{7F83441C-FBEE-4352-925F-0745A21765C9}" dt="2023-09-14T12:40:27.718" v="855" actId="47"/>
        <pc:sldMkLst>
          <pc:docMk/>
          <pc:sldMk cId="3795325095" sldId="2418"/>
        </pc:sldMkLst>
      </pc:sldChg>
      <pc:sldChg chg="del">
        <pc:chgData name="van Leeuwen  Sara (VPPL)" userId="7a5f1df4-0dd0-4c9e-a72f-a035cf318af6" providerId="ADAL" clId="{7F83441C-FBEE-4352-925F-0745A21765C9}" dt="2023-09-14T12:43:19.348" v="867" actId="47"/>
        <pc:sldMkLst>
          <pc:docMk/>
          <pc:sldMk cId="3733623130" sldId="2419"/>
        </pc:sldMkLst>
      </pc:sldChg>
      <pc:sldChg chg="del">
        <pc:chgData name="van Leeuwen  Sara (VPPL)" userId="7a5f1df4-0dd0-4c9e-a72f-a035cf318af6" providerId="ADAL" clId="{7F83441C-FBEE-4352-925F-0745A21765C9}" dt="2023-09-14T13:28:42.993" v="2354" actId="47"/>
        <pc:sldMkLst>
          <pc:docMk/>
          <pc:sldMk cId="1979132634" sldId="2420"/>
        </pc:sldMkLst>
      </pc:sldChg>
      <pc:sldChg chg="addSp delSp modSp mod ord">
        <pc:chgData name="van Leeuwen  Sara (VPPL)" userId="7a5f1df4-0dd0-4c9e-a72f-a035cf318af6" providerId="ADAL" clId="{7F83441C-FBEE-4352-925F-0745A21765C9}" dt="2023-09-14T18:11:20.579" v="6895" actId="255"/>
        <pc:sldMkLst>
          <pc:docMk/>
          <pc:sldMk cId="1257036896" sldId="2421"/>
        </pc:sldMkLst>
        <pc:spChg chg="mod">
          <ac:chgData name="van Leeuwen  Sara (VPPL)" userId="7a5f1df4-0dd0-4c9e-a72f-a035cf318af6" providerId="ADAL" clId="{7F83441C-FBEE-4352-925F-0745A21765C9}" dt="2023-09-14T16:50:42.426" v="2875"/>
          <ac:spMkLst>
            <pc:docMk/>
            <pc:sldMk cId="1257036896" sldId="2421"/>
            <ac:spMk id="5" creationId="{B4E16BDA-60AE-4049-B980-EBCC04B91BB3}"/>
          </ac:spMkLst>
        </pc:spChg>
        <pc:spChg chg="add del mod modVis">
          <ac:chgData name="van Leeuwen  Sara (VPPL)" userId="7a5f1df4-0dd0-4c9e-a72f-a035cf318af6" providerId="ADAL" clId="{7F83441C-FBEE-4352-925F-0745A21765C9}" dt="2023-09-14T12:48:23.979" v="919"/>
          <ac:spMkLst>
            <pc:docMk/>
            <pc:sldMk cId="1257036896" sldId="2421"/>
            <ac:spMk id="7" creationId="{53C51FF0-9724-393B-A65C-934D59388A27}"/>
          </ac:spMkLst>
        </pc:spChg>
        <pc:spChg chg="mod">
          <ac:chgData name="van Leeuwen  Sara (VPPL)" userId="7a5f1df4-0dd0-4c9e-a72f-a035cf318af6" providerId="ADAL" clId="{7F83441C-FBEE-4352-925F-0745A21765C9}" dt="2023-09-14T12:48:37.976" v="1138" actId="948"/>
          <ac:spMkLst>
            <pc:docMk/>
            <pc:sldMk cId="1257036896" sldId="2421"/>
            <ac:spMk id="8" creationId="{7615A340-A42F-4355-AF9F-1FA9C8C871B5}"/>
          </ac:spMkLst>
        </pc:spChg>
        <pc:spChg chg="mod">
          <ac:chgData name="van Leeuwen  Sara (VPPL)" userId="7a5f1df4-0dd0-4c9e-a72f-a035cf318af6" providerId="ADAL" clId="{7F83441C-FBEE-4352-925F-0745A21765C9}" dt="2023-09-14T18:11:20.579" v="6895" actId="255"/>
          <ac:spMkLst>
            <pc:docMk/>
            <pc:sldMk cId="1257036896" sldId="2421"/>
            <ac:spMk id="9" creationId="{9209AE63-3AA5-4052-B998-05A99361B659}"/>
          </ac:spMkLst>
        </pc:spChg>
        <pc:spChg chg="add del mod modVis">
          <ac:chgData name="van Leeuwen  Sara (VPPL)" userId="7a5f1df4-0dd0-4c9e-a72f-a035cf318af6" providerId="ADAL" clId="{7F83441C-FBEE-4352-925F-0745A21765C9}" dt="2023-09-14T12:48:31.774" v="985"/>
          <ac:spMkLst>
            <pc:docMk/>
            <pc:sldMk cId="1257036896" sldId="2421"/>
            <ac:spMk id="11" creationId="{E67A2D73-23B4-3881-2916-7722E576F0EA}"/>
          </ac:spMkLst>
        </pc:spChg>
        <pc:spChg chg="add del mod modVis">
          <ac:chgData name="van Leeuwen  Sara (VPPL)" userId="7a5f1df4-0dd0-4c9e-a72f-a035cf318af6" providerId="ADAL" clId="{7F83441C-FBEE-4352-925F-0745A21765C9}" dt="2023-09-14T12:48:33.082" v="1034"/>
          <ac:spMkLst>
            <pc:docMk/>
            <pc:sldMk cId="1257036896" sldId="2421"/>
            <ac:spMk id="12" creationId="{DF67FBE5-3667-681C-237D-27B95196F57F}"/>
          </ac:spMkLst>
        </pc:spChg>
        <pc:spChg chg="add del mod modVis">
          <ac:chgData name="van Leeuwen  Sara (VPPL)" userId="7a5f1df4-0dd0-4c9e-a72f-a035cf318af6" providerId="ADAL" clId="{7F83441C-FBEE-4352-925F-0745A21765C9}" dt="2023-09-14T12:48:34.390" v="1082"/>
          <ac:spMkLst>
            <pc:docMk/>
            <pc:sldMk cId="1257036896" sldId="2421"/>
            <ac:spMk id="14" creationId="{496901CC-14D0-69BE-EC91-266DAE6CE231}"/>
          </ac:spMkLst>
        </pc:spChg>
        <pc:spChg chg="add del mod modVis">
          <ac:chgData name="van Leeuwen  Sara (VPPL)" userId="7a5f1df4-0dd0-4c9e-a72f-a035cf318af6" providerId="ADAL" clId="{7F83441C-FBEE-4352-925F-0745A21765C9}" dt="2023-09-14T12:48:35.885" v="1127"/>
          <ac:spMkLst>
            <pc:docMk/>
            <pc:sldMk cId="1257036896" sldId="2421"/>
            <ac:spMk id="15" creationId="{85D18DAA-F713-663F-DB96-66ED2A87207F}"/>
          </ac:spMkLst>
        </pc:spChg>
        <pc:spChg chg="add del mod modVis">
          <ac:chgData name="van Leeuwen  Sara (VPPL)" userId="7a5f1df4-0dd0-4c9e-a72f-a035cf318af6" providerId="ADAL" clId="{7F83441C-FBEE-4352-925F-0745A21765C9}" dt="2023-09-14T12:48:38.007" v="1179"/>
          <ac:spMkLst>
            <pc:docMk/>
            <pc:sldMk cId="1257036896" sldId="2421"/>
            <ac:spMk id="16" creationId="{57E24F20-5D87-383A-6114-931C77F0A35A}"/>
          </ac:spMkLst>
        </pc:spChg>
        <pc:graphicFrameChg chg="mod">
          <ac:chgData name="van Leeuwen  Sara (VPPL)" userId="7a5f1df4-0dd0-4c9e-a72f-a035cf318af6" providerId="ADAL" clId="{7F83441C-FBEE-4352-925F-0745A21765C9}" dt="2023-09-14T12:48:38.007" v="1181"/>
          <ac:graphicFrameMkLst>
            <pc:docMk/>
            <pc:sldMk cId="1257036896" sldId="2421"/>
            <ac:graphicFrameMk id="3" creationId="{5755A7B0-3099-8ED9-DD67-7FDA65BEA332}"/>
          </ac:graphicFrameMkLst>
        </pc:graphicFrameChg>
      </pc:sldChg>
      <pc:sldChg chg="delSp modSp mod ord">
        <pc:chgData name="van Leeuwen  Sara (VPPL)" userId="7a5f1df4-0dd0-4c9e-a72f-a035cf318af6" providerId="ADAL" clId="{7F83441C-FBEE-4352-925F-0745A21765C9}" dt="2023-09-14T16:50:57.846" v="2879" actId="478"/>
        <pc:sldMkLst>
          <pc:docMk/>
          <pc:sldMk cId="2330390072" sldId="2422"/>
        </pc:sldMkLst>
        <pc:spChg chg="del mod">
          <ac:chgData name="van Leeuwen  Sara (VPPL)" userId="7a5f1df4-0dd0-4c9e-a72f-a035cf318af6" providerId="ADAL" clId="{7F83441C-FBEE-4352-925F-0745A21765C9}" dt="2023-09-14T16:50:57.846" v="2879" actId="478"/>
          <ac:spMkLst>
            <pc:docMk/>
            <pc:sldMk cId="2330390072" sldId="2422"/>
            <ac:spMk id="5" creationId="{EBDA3653-59C1-457A-8CE9-DCA3D1F4516D}"/>
          </ac:spMkLst>
        </pc:spChg>
      </pc:sldChg>
      <pc:sldChg chg="del">
        <pc:chgData name="van Leeuwen  Sara (VPPL)" userId="7a5f1df4-0dd0-4c9e-a72f-a035cf318af6" providerId="ADAL" clId="{7F83441C-FBEE-4352-925F-0745A21765C9}" dt="2023-09-14T12:19:28.808" v="607" actId="47"/>
        <pc:sldMkLst>
          <pc:docMk/>
          <pc:sldMk cId="1207426020" sldId="2424"/>
        </pc:sldMkLst>
      </pc:sldChg>
      <pc:sldChg chg="del">
        <pc:chgData name="van Leeuwen  Sara (VPPL)" userId="7a5f1df4-0dd0-4c9e-a72f-a035cf318af6" providerId="ADAL" clId="{7F83441C-FBEE-4352-925F-0745A21765C9}" dt="2023-09-14T12:43:03.899" v="865" actId="47"/>
        <pc:sldMkLst>
          <pc:docMk/>
          <pc:sldMk cId="189437998" sldId="2425"/>
        </pc:sldMkLst>
      </pc:sldChg>
      <pc:sldChg chg="del">
        <pc:chgData name="van Leeuwen  Sara (VPPL)" userId="7a5f1df4-0dd0-4c9e-a72f-a035cf318af6" providerId="ADAL" clId="{7F83441C-FBEE-4352-925F-0745A21765C9}" dt="2023-09-14T12:43:08.336" v="866" actId="47"/>
        <pc:sldMkLst>
          <pc:docMk/>
          <pc:sldMk cId="4241163796" sldId="2426"/>
        </pc:sldMkLst>
      </pc:sldChg>
      <pc:sldChg chg="addSp modSp mod">
        <pc:chgData name="van Leeuwen  Sara (VPPL)" userId="7a5f1df4-0dd0-4c9e-a72f-a035cf318af6" providerId="ADAL" clId="{7F83441C-FBEE-4352-925F-0745A21765C9}" dt="2023-09-14T16:52:10.710" v="2888"/>
        <pc:sldMkLst>
          <pc:docMk/>
          <pc:sldMk cId="3512549865" sldId="2427"/>
        </pc:sldMkLst>
        <pc:spChg chg="add mod">
          <ac:chgData name="van Leeuwen  Sara (VPPL)" userId="7a5f1df4-0dd0-4c9e-a72f-a035cf318af6" providerId="ADAL" clId="{7F83441C-FBEE-4352-925F-0745A21765C9}" dt="2023-09-14T12:01:25.477" v="237" actId="108"/>
          <ac:spMkLst>
            <pc:docMk/>
            <pc:sldMk cId="3512549865" sldId="2427"/>
            <ac:spMk id="7" creationId="{571C5360-E19F-39FB-D866-E8AD9E9A43CA}"/>
          </ac:spMkLst>
        </pc:spChg>
        <pc:spChg chg="mod">
          <ac:chgData name="van Leeuwen  Sara (VPPL)" userId="7a5f1df4-0dd0-4c9e-a72f-a035cf318af6" providerId="ADAL" clId="{7F83441C-FBEE-4352-925F-0745A21765C9}" dt="2023-09-14T16:52:10.710" v="2888"/>
          <ac:spMkLst>
            <pc:docMk/>
            <pc:sldMk cId="3512549865" sldId="2427"/>
            <ac:spMk id="8" creationId="{D75AFB06-C0D5-C44A-AFA0-9276A7192873}"/>
          </ac:spMkLst>
        </pc:spChg>
      </pc:sldChg>
      <pc:sldChg chg="modSp mod">
        <pc:chgData name="van Leeuwen  Sara (VPPL)" userId="7a5f1df4-0dd0-4c9e-a72f-a035cf318af6" providerId="ADAL" clId="{7F83441C-FBEE-4352-925F-0745A21765C9}" dt="2023-09-14T17:21:47.759" v="3098" actId="14100"/>
        <pc:sldMkLst>
          <pc:docMk/>
          <pc:sldMk cId="689743388" sldId="2428"/>
        </pc:sldMkLst>
        <pc:spChg chg="mod">
          <ac:chgData name="van Leeuwen  Sara (VPPL)" userId="7a5f1df4-0dd0-4c9e-a72f-a035cf318af6" providerId="ADAL" clId="{7F83441C-FBEE-4352-925F-0745A21765C9}" dt="2023-09-14T11:55:06.526" v="57" actId="1076"/>
          <ac:spMkLst>
            <pc:docMk/>
            <pc:sldMk cId="689743388" sldId="2428"/>
            <ac:spMk id="5" creationId="{FFE3D09D-A5EF-4DB0-8BAE-BBD2BA7E76E2}"/>
          </ac:spMkLst>
        </pc:spChg>
        <pc:spChg chg="mod">
          <ac:chgData name="van Leeuwen  Sara (VPPL)" userId="7a5f1df4-0dd0-4c9e-a72f-a035cf318af6" providerId="ADAL" clId="{7F83441C-FBEE-4352-925F-0745A21765C9}" dt="2023-09-14T17:21:47.759" v="3098" actId="14100"/>
          <ac:spMkLst>
            <pc:docMk/>
            <pc:sldMk cId="689743388" sldId="2428"/>
            <ac:spMk id="8" creationId="{AC1FB292-90C1-439C-8480-EB4116CF2374}"/>
          </ac:spMkLst>
        </pc:spChg>
      </pc:sldChg>
      <pc:sldChg chg="del">
        <pc:chgData name="van Leeuwen  Sara (VPPL)" userId="7a5f1df4-0dd0-4c9e-a72f-a035cf318af6" providerId="ADAL" clId="{7F83441C-FBEE-4352-925F-0745A21765C9}" dt="2023-09-14T12:40:01.792" v="851" actId="47"/>
        <pc:sldMkLst>
          <pc:docMk/>
          <pc:sldMk cId="1485981783" sldId="2429"/>
        </pc:sldMkLst>
      </pc:sldChg>
      <pc:sldChg chg="del">
        <pc:chgData name="van Leeuwen  Sara (VPPL)" userId="7a5f1df4-0dd0-4c9e-a72f-a035cf318af6" providerId="ADAL" clId="{7F83441C-FBEE-4352-925F-0745A21765C9}" dt="2023-09-14T12:40:41.278" v="856" actId="47"/>
        <pc:sldMkLst>
          <pc:docMk/>
          <pc:sldMk cId="3740190813" sldId="2430"/>
        </pc:sldMkLst>
      </pc:sldChg>
      <pc:sldChg chg="addSp delSp modSp mod">
        <pc:chgData name="van Leeuwen  Sara (VPPL)" userId="7a5f1df4-0dd0-4c9e-a72f-a035cf318af6" providerId="ADAL" clId="{7F83441C-FBEE-4352-925F-0745A21765C9}" dt="2023-09-14T17:20:39.568" v="3061" actId="20577"/>
        <pc:sldMkLst>
          <pc:docMk/>
          <pc:sldMk cId="1289117044" sldId="2431"/>
        </pc:sldMkLst>
        <pc:spChg chg="mod">
          <ac:chgData name="van Leeuwen  Sara (VPPL)" userId="7a5f1df4-0dd0-4c9e-a72f-a035cf318af6" providerId="ADAL" clId="{7F83441C-FBEE-4352-925F-0745A21765C9}" dt="2023-09-14T16:52:28.916" v="2890"/>
          <ac:spMkLst>
            <pc:docMk/>
            <pc:sldMk cId="1289117044" sldId="2431"/>
            <ac:spMk id="5" creationId="{0E142C1F-9344-4A89-B6B0-A96D514A3583}"/>
          </ac:spMkLst>
        </pc:spChg>
        <pc:spChg chg="add del mod">
          <ac:chgData name="van Leeuwen  Sara (VPPL)" userId="7a5f1df4-0dd0-4c9e-a72f-a035cf318af6" providerId="ADAL" clId="{7F83441C-FBEE-4352-925F-0745A21765C9}" dt="2023-09-14T12:00:09.198" v="210" actId="478"/>
          <ac:spMkLst>
            <pc:docMk/>
            <pc:sldMk cId="1289117044" sldId="2431"/>
            <ac:spMk id="11" creationId="{B1F66B07-2C19-D55B-31D6-A40AD3FA2E71}"/>
          </ac:spMkLst>
        </pc:spChg>
        <pc:spChg chg="add mod">
          <ac:chgData name="van Leeuwen  Sara (VPPL)" userId="7a5f1df4-0dd0-4c9e-a72f-a035cf318af6" providerId="ADAL" clId="{7F83441C-FBEE-4352-925F-0745A21765C9}" dt="2023-09-14T17:20:39.568" v="3061" actId="20577"/>
          <ac:spMkLst>
            <pc:docMk/>
            <pc:sldMk cId="1289117044" sldId="2431"/>
            <ac:spMk id="12" creationId="{539F782F-4938-FF04-B90B-8FA18B828B29}"/>
          </ac:spMkLst>
        </pc:spChg>
        <pc:spChg chg="add del mod">
          <ac:chgData name="van Leeuwen  Sara (VPPL)" userId="7a5f1df4-0dd0-4c9e-a72f-a035cf318af6" providerId="ADAL" clId="{7F83441C-FBEE-4352-925F-0745A21765C9}" dt="2023-09-14T16:47:49.948" v="2847"/>
          <ac:spMkLst>
            <pc:docMk/>
            <pc:sldMk cId="1289117044" sldId="2431"/>
            <ac:spMk id="14" creationId="{7D63CDAA-B4B2-C067-7D2C-71AA31130C47}"/>
          </ac:spMkLst>
        </pc:spChg>
        <pc:spChg chg="add del mod">
          <ac:chgData name="van Leeuwen  Sara (VPPL)" userId="7a5f1df4-0dd0-4c9e-a72f-a035cf318af6" providerId="ADAL" clId="{7F83441C-FBEE-4352-925F-0745A21765C9}" dt="2023-09-14T16:47:54.622" v="2849"/>
          <ac:spMkLst>
            <pc:docMk/>
            <pc:sldMk cId="1289117044" sldId="2431"/>
            <ac:spMk id="15" creationId="{970D528C-72E6-9EE3-8502-E4F0AE6D2E64}"/>
          </ac:spMkLst>
        </pc:spChg>
      </pc:sldChg>
      <pc:sldChg chg="del">
        <pc:chgData name="van Leeuwen  Sara (VPPL)" userId="7a5f1df4-0dd0-4c9e-a72f-a035cf318af6" providerId="ADAL" clId="{7F83441C-FBEE-4352-925F-0745A21765C9}" dt="2023-09-14T12:12:57.334" v="369" actId="47"/>
        <pc:sldMkLst>
          <pc:docMk/>
          <pc:sldMk cId="1372008763" sldId="2433"/>
        </pc:sldMkLst>
      </pc:sldChg>
      <pc:sldChg chg="addSp modSp mod">
        <pc:chgData name="van Leeuwen  Sara (VPPL)" userId="7a5f1df4-0dd0-4c9e-a72f-a035cf318af6" providerId="ADAL" clId="{7F83441C-FBEE-4352-925F-0745A21765C9}" dt="2023-09-14T18:15:38.934" v="6961"/>
        <pc:sldMkLst>
          <pc:docMk/>
          <pc:sldMk cId="4240256703" sldId="2434"/>
        </pc:sldMkLst>
        <pc:spChg chg="mod">
          <ac:chgData name="van Leeuwen  Sara (VPPL)" userId="7a5f1df4-0dd0-4c9e-a72f-a035cf318af6" providerId="ADAL" clId="{7F83441C-FBEE-4352-925F-0745A21765C9}" dt="2023-09-14T16:49:46.242" v="2864"/>
          <ac:spMkLst>
            <pc:docMk/>
            <pc:sldMk cId="4240256703" sldId="2434"/>
            <ac:spMk id="5" creationId="{85D9BC9D-3DA7-45F6-B926-A87C277DD9F8}"/>
          </ac:spMkLst>
        </pc:spChg>
        <pc:spChg chg="add mod">
          <ac:chgData name="van Leeuwen  Sara (VPPL)" userId="7a5f1df4-0dd0-4c9e-a72f-a035cf318af6" providerId="ADAL" clId="{7F83441C-FBEE-4352-925F-0745A21765C9}" dt="2023-09-14T18:15:38.934" v="6961"/>
          <ac:spMkLst>
            <pc:docMk/>
            <pc:sldMk cId="4240256703" sldId="2434"/>
            <ac:spMk id="11" creationId="{DC6803D6-68BC-AB6B-C96F-B47E5E1B0245}"/>
          </ac:spMkLst>
        </pc:spChg>
      </pc:sldChg>
      <pc:sldChg chg="modSp add mod">
        <pc:chgData name="van Leeuwen  Sara (VPPL)" userId="7a5f1df4-0dd0-4c9e-a72f-a035cf318af6" providerId="ADAL" clId="{7F83441C-FBEE-4352-925F-0745A21765C9}" dt="2023-09-14T16:50:45.349" v="2876"/>
        <pc:sldMkLst>
          <pc:docMk/>
          <pc:sldMk cId="366332666" sldId="2435"/>
        </pc:sldMkLst>
        <pc:spChg chg="mod">
          <ac:chgData name="van Leeuwen  Sara (VPPL)" userId="7a5f1df4-0dd0-4c9e-a72f-a035cf318af6" providerId="ADAL" clId="{7F83441C-FBEE-4352-925F-0745A21765C9}" dt="2023-09-14T16:50:45.349" v="2876"/>
          <ac:spMkLst>
            <pc:docMk/>
            <pc:sldMk cId="366332666" sldId="2435"/>
            <ac:spMk id="8" creationId="{D75AFB06-C0D5-C44A-AFA0-9276A7192873}"/>
          </ac:spMkLst>
        </pc:spChg>
        <pc:graphicFrameChg chg="modGraphic">
          <ac:chgData name="van Leeuwen  Sara (VPPL)" userId="7a5f1df4-0dd0-4c9e-a72f-a035cf318af6" providerId="ADAL" clId="{7F83441C-FBEE-4352-925F-0745A21765C9}" dt="2023-09-14T12:40:24.191" v="854" actId="207"/>
          <ac:graphicFrameMkLst>
            <pc:docMk/>
            <pc:sldMk cId="366332666" sldId="2435"/>
            <ac:graphicFrameMk id="10" creationId="{9B7E8B9D-5F9A-4F11-B14F-FECAB6CF2579}"/>
          </ac:graphicFrameMkLst>
        </pc:graphicFrameChg>
      </pc:sldChg>
      <pc:sldChg chg="addSp delSp modSp add del mod">
        <pc:chgData name="van Leeuwen  Sara (VPPL)" userId="7a5f1df4-0dd0-4c9e-a72f-a035cf318af6" providerId="ADAL" clId="{7F83441C-FBEE-4352-925F-0745A21765C9}" dt="2023-09-14T17:35:47.553" v="3949" actId="47"/>
        <pc:sldMkLst>
          <pc:docMk/>
          <pc:sldMk cId="2507850484" sldId="2436"/>
        </pc:sldMkLst>
        <pc:spChg chg="mod">
          <ac:chgData name="van Leeuwen  Sara (VPPL)" userId="7a5f1df4-0dd0-4c9e-a72f-a035cf318af6" providerId="ADAL" clId="{7F83441C-FBEE-4352-925F-0745A21765C9}" dt="2023-09-14T17:33:07.593" v="3832" actId="948"/>
          <ac:spMkLst>
            <pc:docMk/>
            <pc:sldMk cId="2507850484" sldId="2436"/>
            <ac:spMk id="2" creationId="{00000000-0000-0000-0000-000000000000}"/>
          </ac:spMkLst>
        </pc:spChg>
        <pc:spChg chg="add del mod modVis">
          <ac:chgData name="van Leeuwen  Sara (VPPL)" userId="7a5f1df4-0dd0-4c9e-a72f-a035cf318af6" providerId="ADAL" clId="{7F83441C-FBEE-4352-925F-0745A21765C9}" dt="2023-09-14T13:01:16.956" v="1739"/>
          <ac:spMkLst>
            <pc:docMk/>
            <pc:sldMk cId="2507850484" sldId="2436"/>
            <ac:spMk id="3" creationId="{FD1BE994-0160-4115-2274-89618E42997F}"/>
          </ac:spMkLst>
        </pc:spChg>
        <pc:spChg chg="add del mod modVis">
          <ac:chgData name="van Leeuwen  Sara (VPPL)" userId="7a5f1df4-0dd0-4c9e-a72f-a035cf318af6" providerId="ADAL" clId="{7F83441C-FBEE-4352-925F-0745A21765C9}" dt="2023-09-14T13:01:19.701" v="1786"/>
          <ac:spMkLst>
            <pc:docMk/>
            <pc:sldMk cId="2507850484" sldId="2436"/>
            <ac:spMk id="7" creationId="{400EDB6A-7904-92FF-E8FB-F69150610A74}"/>
          </ac:spMkLst>
        </pc:spChg>
        <pc:spChg chg="add del mod modVis">
          <ac:chgData name="van Leeuwen  Sara (VPPL)" userId="7a5f1df4-0dd0-4c9e-a72f-a035cf318af6" providerId="ADAL" clId="{7F83441C-FBEE-4352-925F-0745A21765C9}" dt="2023-09-14T13:01:21.216" v="1852"/>
          <ac:spMkLst>
            <pc:docMk/>
            <pc:sldMk cId="2507850484" sldId="2436"/>
            <ac:spMk id="8" creationId="{71FDE6A2-7411-B727-533A-60E3160F9085}"/>
          </ac:spMkLst>
        </pc:spChg>
        <pc:spChg chg="mod">
          <ac:chgData name="van Leeuwen  Sara (VPPL)" userId="7a5f1df4-0dd0-4c9e-a72f-a035cf318af6" providerId="ADAL" clId="{7F83441C-FBEE-4352-925F-0745A21765C9}" dt="2023-09-14T17:32:34.825" v="3642" actId="20577"/>
          <ac:spMkLst>
            <pc:docMk/>
            <pc:sldMk cId="2507850484" sldId="2436"/>
            <ac:spMk id="10" creationId="{00000000-0000-0000-0000-000000000000}"/>
          </ac:spMkLst>
        </pc:spChg>
        <pc:spChg chg="add del mod modVis">
          <ac:chgData name="van Leeuwen  Sara (VPPL)" userId="7a5f1df4-0dd0-4c9e-a72f-a035cf318af6" providerId="ADAL" clId="{7F83441C-FBEE-4352-925F-0745A21765C9}" dt="2023-09-14T13:01:22.565" v="1916"/>
          <ac:spMkLst>
            <pc:docMk/>
            <pc:sldMk cId="2507850484" sldId="2436"/>
            <ac:spMk id="11" creationId="{B8B908CC-D5EC-4189-9C07-7217809033BB}"/>
          </ac:spMkLst>
        </pc:spChg>
        <pc:spChg chg="mod">
          <ac:chgData name="van Leeuwen  Sara (VPPL)" userId="7a5f1df4-0dd0-4c9e-a72f-a035cf318af6" providerId="ADAL" clId="{7F83441C-FBEE-4352-925F-0745A21765C9}" dt="2023-09-14T16:50:48.710" v="2877"/>
          <ac:spMkLst>
            <pc:docMk/>
            <pc:sldMk cId="2507850484" sldId="2436"/>
            <ac:spMk id="12" creationId="{D75AFB06-C0D5-C44A-AFA0-9276A7192873}"/>
          </ac:spMkLst>
        </pc:spChg>
        <pc:spChg chg="add del mod modVis">
          <ac:chgData name="van Leeuwen  Sara (VPPL)" userId="7a5f1df4-0dd0-4c9e-a72f-a035cf318af6" providerId="ADAL" clId="{7F83441C-FBEE-4352-925F-0745A21765C9}" dt="2023-09-14T13:01:23.998" v="1981"/>
          <ac:spMkLst>
            <pc:docMk/>
            <pc:sldMk cId="2507850484" sldId="2436"/>
            <ac:spMk id="13" creationId="{0DCFF36A-7470-8475-1FAE-C71FD10FB239}"/>
          </ac:spMkLst>
        </pc:spChg>
        <pc:spChg chg="add del mod modVis">
          <ac:chgData name="van Leeuwen  Sara (VPPL)" userId="7a5f1df4-0dd0-4c9e-a72f-a035cf318af6" providerId="ADAL" clId="{7F83441C-FBEE-4352-925F-0745A21765C9}" dt="2023-09-14T17:33:07.656" v="3888"/>
          <ac:spMkLst>
            <pc:docMk/>
            <pc:sldMk cId="2507850484" sldId="2436"/>
            <ac:spMk id="14" creationId="{26AB24D1-0A85-9241-5283-5E3971F5A7A3}"/>
          </ac:spMkLst>
        </pc:spChg>
        <pc:graphicFrameChg chg="mod">
          <ac:chgData name="van Leeuwen  Sara (VPPL)" userId="7a5f1df4-0dd0-4c9e-a72f-a035cf318af6" providerId="ADAL" clId="{7F83441C-FBEE-4352-925F-0745A21765C9}" dt="2023-09-14T17:33:07.656" v="3890"/>
          <ac:graphicFrameMkLst>
            <pc:docMk/>
            <pc:sldMk cId="2507850484" sldId="2436"/>
            <ac:graphicFrameMk id="5" creationId="{6CD3BF2A-4B05-1D82-BE24-6EDADE277B81}"/>
          </ac:graphicFrameMkLst>
        </pc:graphicFrameChg>
      </pc:sldChg>
      <pc:sldChg chg="addSp delSp modSp add mod ord">
        <pc:chgData name="van Leeuwen  Sara (VPPL)" userId="7a5f1df4-0dd0-4c9e-a72f-a035cf318af6" providerId="ADAL" clId="{7F83441C-FBEE-4352-925F-0745A21765C9}" dt="2023-09-14T18:12:30.454" v="6960" actId="1076"/>
        <pc:sldMkLst>
          <pc:docMk/>
          <pc:sldMk cId="115161503" sldId="2437"/>
        </pc:sldMkLst>
        <pc:spChg chg="mod">
          <ac:chgData name="van Leeuwen  Sara (VPPL)" userId="7a5f1df4-0dd0-4c9e-a72f-a035cf318af6" providerId="ADAL" clId="{7F83441C-FBEE-4352-925F-0745A21765C9}" dt="2023-09-14T13:25:51.240" v="2270" actId="948"/>
          <ac:spMkLst>
            <pc:docMk/>
            <pc:sldMk cId="115161503" sldId="2437"/>
            <ac:spMk id="2" creationId="{00000000-0000-0000-0000-000000000000}"/>
          </ac:spMkLst>
        </pc:spChg>
        <pc:spChg chg="add del mod modVis">
          <ac:chgData name="van Leeuwen  Sara (VPPL)" userId="7a5f1df4-0dd0-4c9e-a72f-a035cf318af6" providerId="ADAL" clId="{7F83441C-FBEE-4352-925F-0745A21765C9}" dt="2023-09-14T13:25:44.189" v="2180"/>
          <ac:spMkLst>
            <pc:docMk/>
            <pc:sldMk cId="115161503" sldId="2437"/>
            <ac:spMk id="3" creationId="{35163DA1-1F09-B988-31B2-04DAB1EDB8B4}"/>
          </ac:spMkLst>
        </pc:spChg>
        <pc:spChg chg="add del mod modVis">
          <ac:chgData name="van Leeuwen  Sara (VPPL)" userId="7a5f1df4-0dd0-4c9e-a72f-a035cf318af6" providerId="ADAL" clId="{7F83441C-FBEE-4352-925F-0745A21765C9}" dt="2023-09-14T13:25:49.822" v="2261"/>
          <ac:spMkLst>
            <pc:docMk/>
            <pc:sldMk cId="115161503" sldId="2437"/>
            <ac:spMk id="7" creationId="{459633DE-8258-6A10-3A4E-29095729F369}"/>
          </ac:spMkLst>
        </pc:spChg>
        <pc:spChg chg="add del mod modVis">
          <ac:chgData name="van Leeuwen  Sara (VPPL)" userId="7a5f1df4-0dd0-4c9e-a72f-a035cf318af6" providerId="ADAL" clId="{7F83441C-FBEE-4352-925F-0745A21765C9}" dt="2023-09-14T13:25:51.287" v="2326"/>
          <ac:spMkLst>
            <pc:docMk/>
            <pc:sldMk cId="115161503" sldId="2437"/>
            <ac:spMk id="8" creationId="{906262F7-ED16-D6D4-45C9-F39C93CB1829}"/>
          </ac:spMkLst>
        </pc:spChg>
        <pc:spChg chg="mod">
          <ac:chgData name="van Leeuwen  Sara (VPPL)" userId="7a5f1df4-0dd0-4c9e-a72f-a035cf318af6" providerId="ADAL" clId="{7F83441C-FBEE-4352-925F-0745A21765C9}" dt="2023-09-14T18:11:49.442" v="6910" actId="20577"/>
          <ac:spMkLst>
            <pc:docMk/>
            <pc:sldMk cId="115161503" sldId="2437"/>
            <ac:spMk id="10" creationId="{00000000-0000-0000-0000-000000000000}"/>
          </ac:spMkLst>
        </pc:spChg>
        <pc:spChg chg="mod">
          <ac:chgData name="van Leeuwen  Sara (VPPL)" userId="7a5f1df4-0dd0-4c9e-a72f-a035cf318af6" providerId="ADAL" clId="{7F83441C-FBEE-4352-925F-0745A21765C9}" dt="2023-09-14T16:46:56.987" v="2840"/>
          <ac:spMkLst>
            <pc:docMk/>
            <pc:sldMk cId="115161503" sldId="2437"/>
            <ac:spMk id="12" creationId="{D75AFB06-C0D5-C44A-AFA0-9276A7192873}"/>
          </ac:spMkLst>
        </pc:spChg>
        <pc:spChg chg="add mod">
          <ac:chgData name="van Leeuwen  Sara (VPPL)" userId="7a5f1df4-0dd0-4c9e-a72f-a035cf318af6" providerId="ADAL" clId="{7F83441C-FBEE-4352-925F-0745A21765C9}" dt="2023-09-14T18:12:16.560" v="6939" actId="20577"/>
          <ac:spMkLst>
            <pc:docMk/>
            <pc:sldMk cId="115161503" sldId="2437"/>
            <ac:spMk id="13" creationId="{395FE564-E77A-A062-6DE1-DDA7459467A2}"/>
          </ac:spMkLst>
        </pc:spChg>
        <pc:spChg chg="add mod">
          <ac:chgData name="van Leeuwen  Sara (VPPL)" userId="7a5f1df4-0dd0-4c9e-a72f-a035cf318af6" providerId="ADAL" clId="{7F83441C-FBEE-4352-925F-0745A21765C9}" dt="2023-09-14T18:12:08.166" v="6935" actId="20577"/>
          <ac:spMkLst>
            <pc:docMk/>
            <pc:sldMk cId="115161503" sldId="2437"/>
            <ac:spMk id="14" creationId="{7528A58F-D640-34E7-6DA4-5A6CA1D82E0E}"/>
          </ac:spMkLst>
        </pc:spChg>
        <pc:spChg chg="del">
          <ac:chgData name="van Leeuwen  Sara (VPPL)" userId="7a5f1df4-0dd0-4c9e-a72f-a035cf318af6" providerId="ADAL" clId="{7F83441C-FBEE-4352-925F-0745A21765C9}" dt="2023-09-14T18:00:06.938" v="5886" actId="478"/>
          <ac:spMkLst>
            <pc:docMk/>
            <pc:sldMk cId="115161503" sldId="2437"/>
            <ac:spMk id="19" creationId="{A0AA57D8-6525-B82E-1C62-1D086A2C61F0}"/>
          </ac:spMkLst>
        </pc:spChg>
        <pc:spChg chg="del">
          <ac:chgData name="van Leeuwen  Sara (VPPL)" userId="7a5f1df4-0dd0-4c9e-a72f-a035cf318af6" providerId="ADAL" clId="{7F83441C-FBEE-4352-925F-0745A21765C9}" dt="2023-09-14T18:00:02.929" v="5885" actId="478"/>
          <ac:spMkLst>
            <pc:docMk/>
            <pc:sldMk cId="115161503" sldId="2437"/>
            <ac:spMk id="20" creationId="{CF7B0E3C-915D-6129-4612-FFB31E8E9DE1}"/>
          </ac:spMkLst>
        </pc:spChg>
        <pc:spChg chg="del">
          <ac:chgData name="van Leeuwen  Sara (VPPL)" userId="7a5f1df4-0dd0-4c9e-a72f-a035cf318af6" providerId="ADAL" clId="{7F83441C-FBEE-4352-925F-0745A21765C9}" dt="2023-09-14T18:00:09.404" v="5887" actId="478"/>
          <ac:spMkLst>
            <pc:docMk/>
            <pc:sldMk cId="115161503" sldId="2437"/>
            <ac:spMk id="24" creationId="{75D38813-0E3F-5E16-F430-0CD6F710989C}"/>
          </ac:spMkLst>
        </pc:spChg>
        <pc:graphicFrameChg chg="mod">
          <ac:chgData name="van Leeuwen  Sara (VPPL)" userId="7a5f1df4-0dd0-4c9e-a72f-a035cf318af6" providerId="ADAL" clId="{7F83441C-FBEE-4352-925F-0745A21765C9}" dt="2023-09-14T13:25:51.287" v="2328"/>
          <ac:graphicFrameMkLst>
            <pc:docMk/>
            <pc:sldMk cId="115161503" sldId="2437"/>
            <ac:graphicFrameMk id="5" creationId="{6CD3BF2A-4B05-1D82-BE24-6EDADE277B81}"/>
          </ac:graphicFrameMkLst>
        </pc:graphicFrameChg>
        <pc:picChg chg="add mod">
          <ac:chgData name="van Leeuwen  Sara (VPPL)" userId="7a5f1df4-0dd0-4c9e-a72f-a035cf318af6" providerId="ADAL" clId="{7F83441C-FBEE-4352-925F-0745A21765C9}" dt="2023-09-14T18:12:30.454" v="6960" actId="1076"/>
          <ac:picMkLst>
            <pc:docMk/>
            <pc:sldMk cId="115161503" sldId="2437"/>
            <ac:picMk id="11" creationId="{ED7C954A-CDCB-8D6B-BD20-C0E69F383502}"/>
          </ac:picMkLst>
        </pc:picChg>
        <pc:picChg chg="mod">
          <ac:chgData name="van Leeuwen  Sara (VPPL)" userId="7a5f1df4-0dd0-4c9e-a72f-a035cf318af6" providerId="ADAL" clId="{7F83441C-FBEE-4352-925F-0745A21765C9}" dt="2023-09-14T18:12:30.454" v="6960" actId="1076"/>
          <ac:picMkLst>
            <pc:docMk/>
            <pc:sldMk cId="115161503" sldId="2437"/>
            <ac:picMk id="26" creationId="{31E44439-1382-DDF9-F549-7C738C45232B}"/>
          </ac:picMkLst>
        </pc:picChg>
      </pc:sldChg>
      <pc:sldChg chg="modSp add mod">
        <pc:chgData name="van Leeuwen  Sara (VPPL)" userId="7a5f1df4-0dd0-4c9e-a72f-a035cf318af6" providerId="ADAL" clId="{7F83441C-FBEE-4352-925F-0745A21765C9}" dt="2023-09-14T16:51:01.190" v="2880"/>
        <pc:sldMkLst>
          <pc:docMk/>
          <pc:sldMk cId="2093043053" sldId="2438"/>
        </pc:sldMkLst>
        <pc:spChg chg="mod">
          <ac:chgData name="van Leeuwen  Sara (VPPL)" userId="7a5f1df4-0dd0-4c9e-a72f-a035cf318af6" providerId="ADAL" clId="{7F83441C-FBEE-4352-925F-0745A21765C9}" dt="2023-09-14T16:51:01.190" v="2880"/>
          <ac:spMkLst>
            <pc:docMk/>
            <pc:sldMk cId="2093043053" sldId="2438"/>
            <ac:spMk id="8" creationId="{D75AFB06-C0D5-C44A-AFA0-9276A7192873}"/>
          </ac:spMkLst>
        </pc:spChg>
        <pc:graphicFrameChg chg="modGraphic">
          <ac:chgData name="van Leeuwen  Sara (VPPL)" userId="7a5f1df4-0dd0-4c9e-a72f-a035cf318af6" providerId="ADAL" clId="{7F83441C-FBEE-4352-925F-0745A21765C9}" dt="2023-09-14T13:28:28.218" v="2351" actId="207"/>
          <ac:graphicFrameMkLst>
            <pc:docMk/>
            <pc:sldMk cId="2093043053" sldId="2438"/>
            <ac:graphicFrameMk id="10" creationId="{9B7E8B9D-5F9A-4F11-B14F-FECAB6CF2579}"/>
          </ac:graphicFrameMkLst>
        </pc:graphicFrameChg>
      </pc:sldChg>
      <pc:sldChg chg="modSp add mod">
        <pc:chgData name="van Leeuwen  Sara (VPPL)" userId="7a5f1df4-0dd0-4c9e-a72f-a035cf318af6" providerId="ADAL" clId="{7F83441C-FBEE-4352-925F-0745A21765C9}" dt="2023-09-14T16:46:52.883" v="2839"/>
        <pc:sldMkLst>
          <pc:docMk/>
          <pc:sldMk cId="2894523313" sldId="2439"/>
        </pc:sldMkLst>
        <pc:spChg chg="mod">
          <ac:chgData name="van Leeuwen  Sara (VPPL)" userId="7a5f1df4-0dd0-4c9e-a72f-a035cf318af6" providerId="ADAL" clId="{7F83441C-FBEE-4352-925F-0745A21765C9}" dt="2023-09-14T16:46:52.883" v="2839"/>
          <ac:spMkLst>
            <pc:docMk/>
            <pc:sldMk cId="2894523313" sldId="2439"/>
            <ac:spMk id="8" creationId="{D75AFB06-C0D5-C44A-AFA0-9276A7192873}"/>
          </ac:spMkLst>
        </pc:spChg>
        <pc:graphicFrameChg chg="modGraphic">
          <ac:chgData name="van Leeuwen  Sara (VPPL)" userId="7a5f1df4-0dd0-4c9e-a72f-a035cf318af6" providerId="ADAL" clId="{7F83441C-FBEE-4352-925F-0745A21765C9}" dt="2023-09-14T13:28:36.570" v="2353" actId="207"/>
          <ac:graphicFrameMkLst>
            <pc:docMk/>
            <pc:sldMk cId="2894523313" sldId="2439"/>
            <ac:graphicFrameMk id="10" creationId="{9B7E8B9D-5F9A-4F11-B14F-FECAB6CF2579}"/>
          </ac:graphicFrameMkLst>
        </pc:graphicFrameChg>
      </pc:sldChg>
      <pc:sldChg chg="addSp delSp modSp add mod">
        <pc:chgData name="van Leeuwen  Sara (VPPL)" userId="7a5f1df4-0dd0-4c9e-a72f-a035cf318af6" providerId="ADAL" clId="{7F83441C-FBEE-4352-925F-0745A21765C9}" dt="2023-09-14T18:27:35.981" v="6990" actId="478"/>
        <pc:sldMkLst>
          <pc:docMk/>
          <pc:sldMk cId="1561310458" sldId="2440"/>
        </pc:sldMkLst>
        <pc:spChg chg="add mod">
          <ac:chgData name="van Leeuwen  Sara (VPPL)" userId="7a5f1df4-0dd0-4c9e-a72f-a035cf318af6" providerId="ADAL" clId="{7F83441C-FBEE-4352-925F-0745A21765C9}" dt="2023-09-14T13:50:06.817" v="2829"/>
          <ac:spMkLst>
            <pc:docMk/>
            <pc:sldMk cId="1561310458" sldId="2440"/>
            <ac:spMk id="3" creationId="{A9C9259E-73FE-8D02-F77A-9B75A3A8C1C0}"/>
          </ac:spMkLst>
        </pc:spChg>
        <pc:spChg chg="mod">
          <ac:chgData name="van Leeuwen  Sara (VPPL)" userId="7a5f1df4-0dd0-4c9e-a72f-a035cf318af6" providerId="ADAL" clId="{7F83441C-FBEE-4352-925F-0745A21765C9}" dt="2023-09-14T16:49:53.822" v="2866"/>
          <ac:spMkLst>
            <pc:docMk/>
            <pc:sldMk cId="1561310458" sldId="2440"/>
            <ac:spMk id="8" creationId="{D75AFB06-C0D5-C44A-AFA0-9276A7192873}"/>
          </ac:spMkLst>
        </pc:spChg>
        <pc:spChg chg="del">
          <ac:chgData name="van Leeuwen  Sara (VPPL)" userId="7a5f1df4-0dd0-4c9e-a72f-a035cf318af6" providerId="ADAL" clId="{7F83441C-FBEE-4352-925F-0745A21765C9}" dt="2023-09-14T18:27:35.981" v="6990" actId="478"/>
          <ac:spMkLst>
            <pc:docMk/>
            <pc:sldMk cId="1561310458" sldId="2440"/>
            <ac:spMk id="11" creationId="{5EE19B10-BD32-4855-BF14-2D427D1BFDF4}"/>
          </ac:spMkLst>
        </pc:spChg>
      </pc:sldChg>
      <pc:sldChg chg="addSp delSp modSp add del mod">
        <pc:chgData name="van Leeuwen  Sara (VPPL)" userId="7a5f1df4-0dd0-4c9e-a72f-a035cf318af6" providerId="ADAL" clId="{7F83441C-FBEE-4352-925F-0745A21765C9}" dt="2023-09-14T17:32:32.605" v="3634"/>
        <pc:sldMkLst>
          <pc:docMk/>
          <pc:sldMk cId="98198672" sldId="2441"/>
        </pc:sldMkLst>
        <pc:spChg chg="mod">
          <ac:chgData name="van Leeuwen  Sara (VPPL)" userId="7a5f1df4-0dd0-4c9e-a72f-a035cf318af6" providerId="ADAL" clId="{7F83441C-FBEE-4352-925F-0745A21765C9}" dt="2023-09-14T17:32:32.243" v="3630" actId="20577"/>
          <ac:spMkLst>
            <pc:docMk/>
            <pc:sldMk cId="98198672" sldId="2441"/>
            <ac:spMk id="2" creationId="{00000000-0000-0000-0000-000000000000}"/>
          </ac:spMkLst>
        </pc:spChg>
        <pc:spChg chg="add del mod modVis">
          <ac:chgData name="van Leeuwen  Sara (VPPL)" userId="7a5f1df4-0dd0-4c9e-a72f-a035cf318af6" providerId="ADAL" clId="{7F83441C-FBEE-4352-925F-0745A21765C9}" dt="2023-09-14T17:32:32.243" v="3628" actId="962"/>
          <ac:spMkLst>
            <pc:docMk/>
            <pc:sldMk cId="98198672" sldId="2441"/>
            <ac:spMk id="3" creationId="{838EC7AC-82D0-7FE4-81E1-A5568BBBCCCF}"/>
          </ac:spMkLst>
        </pc:spChg>
        <pc:spChg chg="add del mod modVis">
          <ac:chgData name="van Leeuwen  Sara (VPPL)" userId="7a5f1df4-0dd0-4c9e-a72f-a035cf318af6" providerId="ADAL" clId="{7F83441C-FBEE-4352-925F-0745A21765C9}" dt="2023-09-14T17:32:31.927" v="3569" actId="962"/>
          <ac:spMkLst>
            <pc:docMk/>
            <pc:sldMk cId="98198672" sldId="2441"/>
            <ac:spMk id="7" creationId="{5C011664-1EB3-76DF-DDCD-E579545E8943}"/>
          </ac:spMkLst>
        </pc:spChg>
        <pc:spChg chg="add del mod modVis">
          <ac:chgData name="van Leeuwen  Sara (VPPL)" userId="7a5f1df4-0dd0-4c9e-a72f-a035cf318af6" providerId="ADAL" clId="{7F83441C-FBEE-4352-925F-0745A21765C9}" dt="2023-09-14T17:32:31.596" v="3510" actId="962"/>
          <ac:spMkLst>
            <pc:docMk/>
            <pc:sldMk cId="98198672" sldId="2441"/>
            <ac:spMk id="8" creationId="{CB61B298-DEB7-4C4B-C352-5A7BABE396C5}"/>
          </ac:spMkLst>
        </pc:spChg>
        <pc:graphicFrameChg chg="mod">
          <ac:chgData name="van Leeuwen  Sara (VPPL)" userId="7a5f1df4-0dd0-4c9e-a72f-a035cf318af6" providerId="ADAL" clId="{7F83441C-FBEE-4352-925F-0745A21765C9}" dt="2023-09-14T17:32:32.605" v="3634"/>
          <ac:graphicFrameMkLst>
            <pc:docMk/>
            <pc:sldMk cId="98198672" sldId="2441"/>
            <ac:graphicFrameMk id="5" creationId="{6CD3BF2A-4B05-1D82-BE24-6EDADE277B81}"/>
          </ac:graphicFrameMkLst>
        </pc:graphicFrameChg>
      </pc:sldChg>
      <pc:sldChg chg="addSp delSp modSp add del mod">
        <pc:chgData name="van Leeuwen  Sara (VPPL)" userId="7a5f1df4-0dd0-4c9e-a72f-a035cf318af6" providerId="ADAL" clId="{7F83441C-FBEE-4352-925F-0745A21765C9}" dt="2023-09-14T17:53:17.949" v="5847" actId="47"/>
        <pc:sldMkLst>
          <pc:docMk/>
          <pc:sldMk cId="4261733302" sldId="2441"/>
        </pc:sldMkLst>
        <pc:spChg chg="mod">
          <ac:chgData name="van Leeuwen  Sara (VPPL)" userId="7a5f1df4-0dd0-4c9e-a72f-a035cf318af6" providerId="ADAL" clId="{7F83441C-FBEE-4352-925F-0745A21765C9}" dt="2023-09-14T17:49:12.611" v="4863" actId="948"/>
          <ac:spMkLst>
            <pc:docMk/>
            <pc:sldMk cId="4261733302" sldId="2441"/>
            <ac:spMk id="2" creationId="{00000000-0000-0000-0000-000000000000}"/>
          </ac:spMkLst>
        </pc:spChg>
        <pc:spChg chg="add del mod modVis">
          <ac:chgData name="van Leeuwen  Sara (VPPL)" userId="7a5f1df4-0dd0-4c9e-a72f-a035cf318af6" providerId="ADAL" clId="{7F83441C-FBEE-4352-925F-0745A21765C9}" dt="2023-09-14T17:32:58.956" v="3706"/>
          <ac:spMkLst>
            <pc:docMk/>
            <pc:sldMk cId="4261733302" sldId="2441"/>
            <ac:spMk id="3" creationId="{D5B68E76-EE42-01C4-E690-1E5C60788211}"/>
          </ac:spMkLst>
        </pc:spChg>
        <pc:spChg chg="add del mod modVis">
          <ac:chgData name="van Leeuwen  Sara (VPPL)" userId="7a5f1df4-0dd0-4c9e-a72f-a035cf318af6" providerId="ADAL" clId="{7F83441C-FBEE-4352-925F-0745A21765C9}" dt="2023-09-14T17:32:59.591" v="3766"/>
          <ac:spMkLst>
            <pc:docMk/>
            <pc:sldMk cId="4261733302" sldId="2441"/>
            <ac:spMk id="7" creationId="{6EA81DD3-F963-0B9A-A7D9-C05BA61F29E5}"/>
          </ac:spMkLst>
        </pc:spChg>
        <pc:spChg chg="add del mod modVis">
          <ac:chgData name="van Leeuwen  Sara (VPPL)" userId="7a5f1df4-0dd0-4c9e-a72f-a035cf318af6" providerId="ADAL" clId="{7F83441C-FBEE-4352-925F-0745A21765C9}" dt="2023-09-14T17:33:04.551" v="3827"/>
          <ac:spMkLst>
            <pc:docMk/>
            <pc:sldMk cId="4261733302" sldId="2441"/>
            <ac:spMk id="8" creationId="{B523CE74-1AE1-043E-B4D6-54207F7281AD}"/>
          </ac:spMkLst>
        </pc:spChg>
        <pc:spChg chg="add del mod">
          <ac:chgData name="van Leeuwen  Sara (VPPL)" userId="7a5f1df4-0dd0-4c9e-a72f-a035cf318af6" providerId="ADAL" clId="{7F83441C-FBEE-4352-925F-0745A21765C9}" dt="2023-09-14T17:46:51.027" v="4332" actId="21"/>
          <ac:spMkLst>
            <pc:docMk/>
            <pc:sldMk cId="4261733302" sldId="2441"/>
            <ac:spMk id="10" creationId="{00000000-0000-0000-0000-000000000000}"/>
          </ac:spMkLst>
        </pc:spChg>
        <pc:spChg chg="del">
          <ac:chgData name="van Leeuwen  Sara (VPPL)" userId="7a5f1df4-0dd0-4c9e-a72f-a035cf318af6" providerId="ADAL" clId="{7F83441C-FBEE-4352-925F-0745A21765C9}" dt="2023-09-14T17:35:37.072" v="3947" actId="478"/>
          <ac:spMkLst>
            <pc:docMk/>
            <pc:sldMk cId="4261733302" sldId="2441"/>
            <ac:spMk id="19" creationId="{A0AA57D8-6525-B82E-1C62-1D086A2C61F0}"/>
          </ac:spMkLst>
        </pc:spChg>
        <pc:spChg chg="add del mod">
          <ac:chgData name="van Leeuwen  Sara (VPPL)" userId="7a5f1df4-0dd0-4c9e-a72f-a035cf318af6" providerId="ADAL" clId="{7F83441C-FBEE-4352-925F-0745A21765C9}" dt="2023-09-14T17:35:37.072" v="3947" actId="478"/>
          <ac:spMkLst>
            <pc:docMk/>
            <pc:sldMk cId="4261733302" sldId="2441"/>
            <ac:spMk id="20" creationId="{CF7B0E3C-915D-6129-4612-FFB31E8E9DE1}"/>
          </ac:spMkLst>
        </pc:spChg>
        <pc:spChg chg="add del mod">
          <ac:chgData name="van Leeuwen  Sara (VPPL)" userId="7a5f1df4-0dd0-4c9e-a72f-a035cf318af6" providerId="ADAL" clId="{7F83441C-FBEE-4352-925F-0745A21765C9}" dt="2023-09-14T17:46:50.113" v="4330" actId="22"/>
          <ac:spMkLst>
            <pc:docMk/>
            <pc:sldMk cId="4261733302" sldId="2441"/>
            <ac:spMk id="23" creationId="{E5C47F45-08F2-6F22-B8FF-41E8B7969F8B}"/>
          </ac:spMkLst>
        </pc:spChg>
        <pc:spChg chg="del">
          <ac:chgData name="van Leeuwen  Sara (VPPL)" userId="7a5f1df4-0dd0-4c9e-a72f-a035cf318af6" providerId="ADAL" clId="{7F83441C-FBEE-4352-925F-0745A21765C9}" dt="2023-09-14T17:35:37.072" v="3947" actId="478"/>
          <ac:spMkLst>
            <pc:docMk/>
            <pc:sldMk cId="4261733302" sldId="2441"/>
            <ac:spMk id="24" creationId="{75D38813-0E3F-5E16-F430-0CD6F710989C}"/>
          </ac:spMkLst>
        </pc:spChg>
        <pc:spChg chg="add del mod modVis">
          <ac:chgData name="van Leeuwen  Sara (VPPL)" userId="7a5f1df4-0dd0-4c9e-a72f-a035cf318af6" providerId="ADAL" clId="{7F83441C-FBEE-4352-925F-0745A21765C9}" dt="2023-09-14T17:49:01.901" v="4472"/>
          <ac:spMkLst>
            <pc:docMk/>
            <pc:sldMk cId="4261733302" sldId="2441"/>
            <ac:spMk id="25" creationId="{14655ACB-BCDB-9948-9F99-8770024299DD}"/>
          </ac:spMkLst>
        </pc:spChg>
        <pc:spChg chg="add del mod modVis">
          <ac:chgData name="van Leeuwen  Sara (VPPL)" userId="7a5f1df4-0dd0-4c9e-a72f-a035cf318af6" providerId="ADAL" clId="{7F83441C-FBEE-4352-925F-0745A21765C9}" dt="2023-09-14T17:49:04.172" v="4533"/>
          <ac:spMkLst>
            <pc:docMk/>
            <pc:sldMk cId="4261733302" sldId="2441"/>
            <ac:spMk id="27" creationId="{546437FD-35B7-2817-C012-E450021D7231}"/>
          </ac:spMkLst>
        </pc:spChg>
        <pc:spChg chg="add del mod modVis">
          <ac:chgData name="van Leeuwen  Sara (VPPL)" userId="7a5f1df4-0dd0-4c9e-a72f-a035cf318af6" providerId="ADAL" clId="{7F83441C-FBEE-4352-925F-0745A21765C9}" dt="2023-09-14T17:49:05.369" v="4594"/>
          <ac:spMkLst>
            <pc:docMk/>
            <pc:sldMk cId="4261733302" sldId="2441"/>
            <ac:spMk id="28" creationId="{77987C5D-9323-4F81-45B8-16F22122AEF1}"/>
          </ac:spMkLst>
        </pc:spChg>
        <pc:spChg chg="add del mod modVis">
          <ac:chgData name="van Leeuwen  Sara (VPPL)" userId="7a5f1df4-0dd0-4c9e-a72f-a035cf318af6" providerId="ADAL" clId="{7F83441C-FBEE-4352-925F-0745A21765C9}" dt="2023-09-14T17:49:06.376" v="4656"/>
          <ac:spMkLst>
            <pc:docMk/>
            <pc:sldMk cId="4261733302" sldId="2441"/>
            <ac:spMk id="29" creationId="{77C10163-ECCE-1242-DB83-266644A3BEBE}"/>
          </ac:spMkLst>
        </pc:spChg>
        <pc:spChg chg="add del mod modVis">
          <ac:chgData name="van Leeuwen  Sara (VPPL)" userId="7a5f1df4-0dd0-4c9e-a72f-a035cf318af6" providerId="ADAL" clId="{7F83441C-FBEE-4352-925F-0745A21765C9}" dt="2023-09-14T17:49:07.953" v="4722"/>
          <ac:spMkLst>
            <pc:docMk/>
            <pc:sldMk cId="4261733302" sldId="2441"/>
            <ac:spMk id="30" creationId="{0B3A6F32-3419-49B1-FBFA-6CEE37E78DFF}"/>
          </ac:spMkLst>
        </pc:spChg>
        <pc:spChg chg="add del mod modVis">
          <ac:chgData name="van Leeuwen  Sara (VPPL)" userId="7a5f1df4-0dd0-4c9e-a72f-a035cf318af6" providerId="ADAL" clId="{7F83441C-FBEE-4352-925F-0745A21765C9}" dt="2023-09-14T17:49:09.968" v="4791"/>
          <ac:spMkLst>
            <pc:docMk/>
            <pc:sldMk cId="4261733302" sldId="2441"/>
            <ac:spMk id="31" creationId="{F0830042-C7F9-D5D5-814B-1BBAB2A88D85}"/>
          </ac:spMkLst>
        </pc:spChg>
        <pc:spChg chg="add del mod modVis">
          <ac:chgData name="van Leeuwen  Sara (VPPL)" userId="7a5f1df4-0dd0-4c9e-a72f-a035cf318af6" providerId="ADAL" clId="{7F83441C-FBEE-4352-925F-0745A21765C9}" dt="2023-09-14T17:49:12.029" v="4859"/>
          <ac:spMkLst>
            <pc:docMk/>
            <pc:sldMk cId="4261733302" sldId="2441"/>
            <ac:spMk id="32" creationId="{826C7A52-95D5-352D-18FB-7E142182209A}"/>
          </ac:spMkLst>
        </pc:spChg>
        <pc:spChg chg="add del mod modVis">
          <ac:chgData name="van Leeuwen  Sara (VPPL)" userId="7a5f1df4-0dd0-4c9e-a72f-a035cf318af6" providerId="ADAL" clId="{7F83441C-FBEE-4352-925F-0745A21765C9}" dt="2023-09-14T17:49:12.662" v="4919"/>
          <ac:spMkLst>
            <pc:docMk/>
            <pc:sldMk cId="4261733302" sldId="2441"/>
            <ac:spMk id="33" creationId="{FD3AEAF9-452A-20A4-AFB9-5C7F907465D5}"/>
          </ac:spMkLst>
        </pc:spChg>
        <pc:graphicFrameChg chg="mod">
          <ac:chgData name="van Leeuwen  Sara (VPPL)" userId="7a5f1df4-0dd0-4c9e-a72f-a035cf318af6" providerId="ADAL" clId="{7F83441C-FBEE-4352-925F-0745A21765C9}" dt="2023-09-14T17:49:12.674" v="4921"/>
          <ac:graphicFrameMkLst>
            <pc:docMk/>
            <pc:sldMk cId="4261733302" sldId="2441"/>
            <ac:graphicFrameMk id="5" creationId="{6CD3BF2A-4B05-1D82-BE24-6EDADE277B81}"/>
          </ac:graphicFrameMkLst>
        </pc:graphicFrameChg>
        <pc:picChg chg="add del mod">
          <ac:chgData name="van Leeuwen  Sara (VPPL)" userId="7a5f1df4-0dd0-4c9e-a72f-a035cf318af6" providerId="ADAL" clId="{7F83441C-FBEE-4352-925F-0745A21765C9}" dt="2023-09-14T17:39:42.486" v="3967" actId="478"/>
          <ac:picMkLst>
            <pc:docMk/>
            <pc:sldMk cId="4261733302" sldId="2441"/>
            <ac:picMk id="13" creationId="{02A9D6A9-22CC-2E96-4FF3-7DF5F5A1A015}"/>
          </ac:picMkLst>
        </pc:picChg>
        <pc:picChg chg="add mod modCrop">
          <ac:chgData name="van Leeuwen  Sara (VPPL)" userId="7a5f1df4-0dd0-4c9e-a72f-a035cf318af6" providerId="ADAL" clId="{7F83441C-FBEE-4352-925F-0745A21765C9}" dt="2023-09-14T17:43:29.893" v="4123" actId="1037"/>
          <ac:picMkLst>
            <pc:docMk/>
            <pc:sldMk cId="4261733302" sldId="2441"/>
            <ac:picMk id="15" creationId="{84DEC4E7-DD73-59BF-012C-333AD16C9094}"/>
          </ac:picMkLst>
        </pc:picChg>
        <pc:picChg chg="add mod">
          <ac:chgData name="van Leeuwen  Sara (VPPL)" userId="7a5f1df4-0dd0-4c9e-a72f-a035cf318af6" providerId="ADAL" clId="{7F83441C-FBEE-4352-925F-0745A21765C9}" dt="2023-09-14T17:43:29.893" v="4123" actId="1037"/>
          <ac:picMkLst>
            <pc:docMk/>
            <pc:sldMk cId="4261733302" sldId="2441"/>
            <ac:picMk id="16" creationId="{356398CD-32B8-C0EB-CC4C-ACBD588CB768}"/>
          </ac:picMkLst>
        </pc:picChg>
        <pc:picChg chg="add mod">
          <ac:chgData name="van Leeuwen  Sara (VPPL)" userId="7a5f1df4-0dd0-4c9e-a72f-a035cf318af6" providerId="ADAL" clId="{7F83441C-FBEE-4352-925F-0745A21765C9}" dt="2023-09-14T17:43:29.893" v="4123" actId="1037"/>
          <ac:picMkLst>
            <pc:docMk/>
            <pc:sldMk cId="4261733302" sldId="2441"/>
            <ac:picMk id="17" creationId="{CAE16BB1-A18E-6D29-1CE7-5F2E89094808}"/>
          </ac:picMkLst>
        </pc:picChg>
        <pc:picChg chg="add mod">
          <ac:chgData name="van Leeuwen  Sara (VPPL)" userId="7a5f1df4-0dd0-4c9e-a72f-a035cf318af6" providerId="ADAL" clId="{7F83441C-FBEE-4352-925F-0745A21765C9}" dt="2023-09-14T17:43:29.893" v="4123" actId="1037"/>
          <ac:picMkLst>
            <pc:docMk/>
            <pc:sldMk cId="4261733302" sldId="2441"/>
            <ac:picMk id="18" creationId="{9463AA58-2E39-5138-4E5E-37896E64F226}"/>
          </ac:picMkLst>
        </pc:picChg>
        <pc:picChg chg="add mod">
          <ac:chgData name="van Leeuwen  Sara (VPPL)" userId="7a5f1df4-0dd0-4c9e-a72f-a035cf318af6" providerId="ADAL" clId="{7F83441C-FBEE-4352-925F-0745A21765C9}" dt="2023-09-14T17:43:37.891" v="4134" actId="1035"/>
          <ac:picMkLst>
            <pc:docMk/>
            <pc:sldMk cId="4261733302" sldId="2441"/>
            <ac:picMk id="21" creationId="{68C32B9A-7B72-1435-0CB0-9364B7080AAB}"/>
          </ac:picMkLst>
        </pc:picChg>
        <pc:picChg chg="del">
          <ac:chgData name="van Leeuwen  Sara (VPPL)" userId="7a5f1df4-0dd0-4c9e-a72f-a035cf318af6" providerId="ADAL" clId="{7F83441C-FBEE-4352-925F-0745A21765C9}" dt="2023-09-14T17:35:37.072" v="3947" actId="478"/>
          <ac:picMkLst>
            <pc:docMk/>
            <pc:sldMk cId="4261733302" sldId="2441"/>
            <ac:picMk id="26" creationId="{31E44439-1382-DDF9-F549-7C738C45232B}"/>
          </ac:picMkLst>
        </pc:picChg>
      </pc:sldChg>
      <pc:sldChg chg="addSp delSp modSp add mod">
        <pc:chgData name="van Leeuwen  Sara (VPPL)" userId="7a5f1df4-0dd0-4c9e-a72f-a035cf318af6" providerId="ADAL" clId="{7F83441C-FBEE-4352-925F-0745A21765C9}" dt="2023-09-14T17:50:50.857" v="5797"/>
        <pc:sldMkLst>
          <pc:docMk/>
          <pc:sldMk cId="3420152249" sldId="2442"/>
        </pc:sldMkLst>
        <pc:spChg chg="mod">
          <ac:chgData name="van Leeuwen  Sara (VPPL)" userId="7a5f1df4-0dd0-4c9e-a72f-a035cf318af6" providerId="ADAL" clId="{7F83441C-FBEE-4352-925F-0745A21765C9}" dt="2023-09-14T17:50:50.778" v="5724" actId="948"/>
          <ac:spMkLst>
            <pc:docMk/>
            <pc:sldMk cId="3420152249" sldId="2442"/>
            <ac:spMk id="2" creationId="{00000000-0000-0000-0000-000000000000}"/>
          </ac:spMkLst>
        </pc:spChg>
        <pc:spChg chg="add mod">
          <ac:chgData name="van Leeuwen  Sara (VPPL)" userId="7a5f1df4-0dd0-4c9e-a72f-a035cf318af6" providerId="ADAL" clId="{7F83441C-FBEE-4352-925F-0745A21765C9}" dt="2023-09-14T17:49:37.973" v="5179" actId="113"/>
          <ac:spMkLst>
            <pc:docMk/>
            <pc:sldMk cId="3420152249" sldId="2442"/>
            <ac:spMk id="3" creationId="{DA9D408E-409A-09DE-FA88-268F95DF1BEC}"/>
          </ac:spMkLst>
        </pc:spChg>
        <pc:spChg chg="add del mod modVis">
          <ac:chgData name="van Leeuwen  Sara (VPPL)" userId="7a5f1df4-0dd0-4c9e-a72f-a035cf318af6" providerId="ADAL" clId="{7F83441C-FBEE-4352-925F-0745A21765C9}" dt="2023-09-14T17:49:17.395" v="4980"/>
          <ac:spMkLst>
            <pc:docMk/>
            <pc:sldMk cId="3420152249" sldId="2442"/>
            <ac:spMk id="7" creationId="{AE1B174D-DFAE-55F5-0CF4-ED71328C7CB4}"/>
          </ac:spMkLst>
        </pc:spChg>
        <pc:spChg chg="add del mod modVis">
          <ac:chgData name="van Leeuwen  Sara (VPPL)" userId="7a5f1df4-0dd0-4c9e-a72f-a035cf318af6" providerId="ADAL" clId="{7F83441C-FBEE-4352-925F-0745A21765C9}" dt="2023-09-14T17:49:19.395" v="5042"/>
          <ac:spMkLst>
            <pc:docMk/>
            <pc:sldMk cId="3420152249" sldId="2442"/>
            <ac:spMk id="8" creationId="{5DBC1B9B-CF78-A7EF-736C-ECA644E91016}"/>
          </ac:spMkLst>
        </pc:spChg>
        <pc:spChg chg="del">
          <ac:chgData name="van Leeuwen  Sara (VPPL)" userId="7a5f1df4-0dd0-4c9e-a72f-a035cf318af6" providerId="ADAL" clId="{7F83441C-FBEE-4352-925F-0745A21765C9}" dt="2023-09-14T17:43:50.673" v="4135" actId="478"/>
          <ac:spMkLst>
            <pc:docMk/>
            <pc:sldMk cId="3420152249" sldId="2442"/>
            <ac:spMk id="10" creationId="{00000000-0000-0000-0000-000000000000}"/>
          </ac:spMkLst>
        </pc:spChg>
        <pc:spChg chg="add del mod modVis">
          <ac:chgData name="van Leeuwen  Sara (VPPL)" userId="7a5f1df4-0dd0-4c9e-a72f-a035cf318af6" providerId="ADAL" clId="{7F83441C-FBEE-4352-925F-0745A21765C9}" dt="2023-09-14T17:49:20.102" v="5102"/>
          <ac:spMkLst>
            <pc:docMk/>
            <pc:sldMk cId="3420152249" sldId="2442"/>
            <ac:spMk id="11" creationId="{78759CAB-DE9E-F653-392A-58D9A20F5D8F}"/>
          </ac:spMkLst>
        </pc:spChg>
        <pc:spChg chg="add del mod modVis">
          <ac:chgData name="van Leeuwen  Sara (VPPL)" userId="7a5f1df4-0dd0-4c9e-a72f-a035cf318af6" providerId="ADAL" clId="{7F83441C-FBEE-4352-925F-0745A21765C9}" dt="2023-09-14T17:49:21.917" v="5167"/>
          <ac:spMkLst>
            <pc:docMk/>
            <pc:sldMk cId="3420152249" sldId="2442"/>
            <ac:spMk id="13" creationId="{895D38A0-873F-4E6F-D0F9-DC9EA9CCE3A7}"/>
          </ac:spMkLst>
        </pc:spChg>
        <pc:spChg chg="add del mod modVis">
          <ac:chgData name="van Leeuwen  Sara (VPPL)" userId="7a5f1df4-0dd0-4c9e-a72f-a035cf318af6" providerId="ADAL" clId="{7F83441C-FBEE-4352-925F-0745A21765C9}" dt="2023-09-14T17:50:41.176" v="5536"/>
          <ac:spMkLst>
            <pc:docMk/>
            <pc:sldMk cId="3420152249" sldId="2442"/>
            <ac:spMk id="14" creationId="{56A9A731-9ABC-609C-D2B7-B4AFAE6B5F82}"/>
          </ac:spMkLst>
        </pc:spChg>
        <pc:spChg chg="add del mod modVis">
          <ac:chgData name="van Leeuwen  Sara (VPPL)" userId="7a5f1df4-0dd0-4c9e-a72f-a035cf318af6" providerId="ADAL" clId="{7F83441C-FBEE-4352-925F-0745A21765C9}" dt="2023-09-14T17:50:42.655" v="5599"/>
          <ac:spMkLst>
            <pc:docMk/>
            <pc:sldMk cId="3420152249" sldId="2442"/>
            <ac:spMk id="15" creationId="{A58E0B65-8328-7D05-0659-59D24F2CD569}"/>
          </ac:spMkLst>
        </pc:spChg>
        <pc:spChg chg="add del mod modVis">
          <ac:chgData name="van Leeuwen  Sara (VPPL)" userId="7a5f1df4-0dd0-4c9e-a72f-a035cf318af6" providerId="ADAL" clId="{7F83441C-FBEE-4352-925F-0745A21765C9}" dt="2023-09-14T17:50:43.963" v="5660"/>
          <ac:spMkLst>
            <pc:docMk/>
            <pc:sldMk cId="3420152249" sldId="2442"/>
            <ac:spMk id="16" creationId="{F9E4370E-99BB-B6D0-BBD7-6A315CAB3339}"/>
          </ac:spMkLst>
        </pc:spChg>
        <pc:spChg chg="add del mod modVis">
          <ac:chgData name="van Leeuwen  Sara (VPPL)" userId="7a5f1df4-0dd0-4c9e-a72f-a035cf318af6" providerId="ADAL" clId="{7F83441C-FBEE-4352-925F-0745A21765C9}" dt="2023-09-14T17:50:46.461" v="5720"/>
          <ac:spMkLst>
            <pc:docMk/>
            <pc:sldMk cId="3420152249" sldId="2442"/>
            <ac:spMk id="17" creationId="{B0546A72-9ECA-AEA0-2FB9-B5C07EA84C48}"/>
          </ac:spMkLst>
        </pc:spChg>
        <pc:spChg chg="add del mod modVis">
          <ac:chgData name="van Leeuwen  Sara (VPPL)" userId="7a5f1df4-0dd0-4c9e-a72f-a035cf318af6" providerId="ADAL" clId="{7F83441C-FBEE-4352-925F-0745A21765C9}" dt="2023-09-14T17:50:50.857" v="5795"/>
          <ac:spMkLst>
            <pc:docMk/>
            <pc:sldMk cId="3420152249" sldId="2442"/>
            <ac:spMk id="18" creationId="{FF700A48-59D8-739C-EDF8-B111CD09102C}"/>
          </ac:spMkLst>
        </pc:spChg>
        <pc:spChg chg="mod">
          <ac:chgData name="van Leeuwen  Sara (VPPL)" userId="7a5f1df4-0dd0-4c9e-a72f-a035cf318af6" providerId="ADAL" clId="{7F83441C-FBEE-4352-925F-0745A21765C9}" dt="2023-09-14T17:49:44.936" v="5193" actId="1036"/>
          <ac:spMkLst>
            <pc:docMk/>
            <pc:sldMk cId="3420152249" sldId="2442"/>
            <ac:spMk id="19" creationId="{A0AA57D8-6525-B82E-1C62-1D086A2C61F0}"/>
          </ac:spMkLst>
        </pc:spChg>
        <pc:spChg chg="mod">
          <ac:chgData name="van Leeuwen  Sara (VPPL)" userId="7a5f1df4-0dd0-4c9e-a72f-a035cf318af6" providerId="ADAL" clId="{7F83441C-FBEE-4352-925F-0745A21765C9}" dt="2023-09-14T17:49:44.936" v="5193" actId="1036"/>
          <ac:spMkLst>
            <pc:docMk/>
            <pc:sldMk cId="3420152249" sldId="2442"/>
            <ac:spMk id="20" creationId="{CF7B0E3C-915D-6129-4612-FFB31E8E9DE1}"/>
          </ac:spMkLst>
        </pc:spChg>
        <pc:spChg chg="mod">
          <ac:chgData name="van Leeuwen  Sara (VPPL)" userId="7a5f1df4-0dd0-4c9e-a72f-a035cf318af6" providerId="ADAL" clId="{7F83441C-FBEE-4352-925F-0745A21765C9}" dt="2023-09-14T17:49:44.936" v="5193" actId="1036"/>
          <ac:spMkLst>
            <pc:docMk/>
            <pc:sldMk cId="3420152249" sldId="2442"/>
            <ac:spMk id="24" creationId="{75D38813-0E3F-5E16-F430-0CD6F710989C}"/>
          </ac:spMkLst>
        </pc:spChg>
        <pc:graphicFrameChg chg="mod">
          <ac:chgData name="van Leeuwen  Sara (VPPL)" userId="7a5f1df4-0dd0-4c9e-a72f-a035cf318af6" providerId="ADAL" clId="{7F83441C-FBEE-4352-925F-0745A21765C9}" dt="2023-09-14T17:50:50.857" v="5797"/>
          <ac:graphicFrameMkLst>
            <pc:docMk/>
            <pc:sldMk cId="3420152249" sldId="2442"/>
            <ac:graphicFrameMk id="5" creationId="{6CD3BF2A-4B05-1D82-BE24-6EDADE277B81}"/>
          </ac:graphicFrameMkLst>
        </pc:graphicFrameChg>
        <pc:picChg chg="mod">
          <ac:chgData name="van Leeuwen  Sara (VPPL)" userId="7a5f1df4-0dd0-4c9e-a72f-a035cf318af6" providerId="ADAL" clId="{7F83441C-FBEE-4352-925F-0745A21765C9}" dt="2023-09-14T17:49:44.936" v="5193" actId="1036"/>
          <ac:picMkLst>
            <pc:docMk/>
            <pc:sldMk cId="3420152249" sldId="2442"/>
            <ac:picMk id="26" creationId="{31E44439-1382-DDF9-F549-7C738C45232B}"/>
          </ac:picMkLst>
        </pc:picChg>
      </pc:sldChg>
      <pc:sldChg chg="new add del">
        <pc:chgData name="van Leeuwen  Sara (VPPL)" userId="7a5f1df4-0dd0-4c9e-a72f-a035cf318af6" providerId="ADAL" clId="{7F83441C-FBEE-4352-925F-0745A21765C9}" dt="2023-09-14T17:50:04.232" v="5196" actId="47"/>
        <pc:sldMkLst>
          <pc:docMk/>
          <pc:sldMk cId="531850227" sldId="2443"/>
        </pc:sldMkLst>
      </pc:sldChg>
      <pc:sldChg chg="addSp delSp modSp new add mod">
        <pc:chgData name="van Leeuwen  Sara (VPPL)" userId="7a5f1df4-0dd0-4c9e-a72f-a035cf318af6" providerId="ADAL" clId="{7F83441C-FBEE-4352-925F-0745A21765C9}" dt="2023-09-14T17:53:10.077" v="5846" actId="1035"/>
        <pc:sldMkLst>
          <pc:docMk/>
          <pc:sldMk cId="3191170877" sldId="2443"/>
        </pc:sldMkLst>
        <pc:spChg chg="mod">
          <ac:chgData name="van Leeuwen  Sara (VPPL)" userId="7a5f1df4-0dd0-4c9e-a72f-a035cf318af6" providerId="ADAL" clId="{7F83441C-FBEE-4352-925F-0745A21765C9}" dt="2023-09-14T17:50:36.336" v="5400" actId="948"/>
          <ac:spMkLst>
            <pc:docMk/>
            <pc:sldMk cId="3191170877" sldId="2443"/>
            <ac:spMk id="2" creationId="{690BD18C-4CB3-58F7-B41A-F4746B7DAA6D}"/>
          </ac:spMkLst>
        </pc:spChg>
        <pc:spChg chg="mod">
          <ac:chgData name="van Leeuwen  Sara (VPPL)" userId="7a5f1df4-0dd0-4c9e-a72f-a035cf318af6" providerId="ADAL" clId="{7F83441C-FBEE-4352-925F-0745A21765C9}" dt="2023-09-14T17:52:34.864" v="5826" actId="2710"/>
          <ac:spMkLst>
            <pc:docMk/>
            <pc:sldMk cId="3191170877" sldId="2443"/>
            <ac:spMk id="3" creationId="{74ABCEC1-985B-1C66-2D33-43D74A38B600}"/>
          </ac:spMkLst>
        </pc:spChg>
        <pc:spChg chg="add del mod modVis">
          <ac:chgData name="van Leeuwen  Sara (VPPL)" userId="7a5f1df4-0dd0-4c9e-a72f-a035cf318af6" providerId="ADAL" clId="{7F83441C-FBEE-4352-925F-0745A21765C9}" dt="2023-09-14T17:50:23.334" v="5256"/>
          <ac:spMkLst>
            <pc:docMk/>
            <pc:sldMk cId="3191170877" sldId="2443"/>
            <ac:spMk id="7" creationId="{3664BE50-B875-745A-2C72-F876056BE3C0}"/>
          </ac:spMkLst>
        </pc:spChg>
        <pc:spChg chg="add del mod modVis">
          <ac:chgData name="van Leeuwen  Sara (VPPL)" userId="7a5f1df4-0dd0-4c9e-a72f-a035cf318af6" providerId="ADAL" clId="{7F83441C-FBEE-4352-925F-0745A21765C9}" dt="2023-09-14T17:50:30.702" v="5335"/>
          <ac:spMkLst>
            <pc:docMk/>
            <pc:sldMk cId="3191170877" sldId="2443"/>
            <ac:spMk id="9" creationId="{6E9A12A3-2DD3-16A3-F862-0E35E55EA3D7}"/>
          </ac:spMkLst>
        </pc:spChg>
        <pc:spChg chg="add del mod modVis">
          <ac:chgData name="van Leeuwen  Sara (VPPL)" userId="7a5f1df4-0dd0-4c9e-a72f-a035cf318af6" providerId="ADAL" clId="{7F83441C-FBEE-4352-925F-0745A21765C9}" dt="2023-09-14T17:50:32.275" v="5396"/>
          <ac:spMkLst>
            <pc:docMk/>
            <pc:sldMk cId="3191170877" sldId="2443"/>
            <ac:spMk id="10" creationId="{49B016F6-54D9-69D7-24CE-EF94073B3D08}"/>
          </ac:spMkLst>
        </pc:spChg>
        <pc:spChg chg="add del mod modVis">
          <ac:chgData name="van Leeuwen  Sara (VPPL)" userId="7a5f1df4-0dd0-4c9e-a72f-a035cf318af6" providerId="ADAL" clId="{7F83441C-FBEE-4352-925F-0745A21765C9}" dt="2023-09-14T17:50:36.399" v="5471"/>
          <ac:spMkLst>
            <pc:docMk/>
            <pc:sldMk cId="3191170877" sldId="2443"/>
            <ac:spMk id="11" creationId="{B3828E83-EF00-0D19-6077-41D01282EAD0}"/>
          </ac:spMkLst>
        </pc:spChg>
        <pc:graphicFrameChg chg="add mod ord modVis replST">
          <ac:chgData name="van Leeuwen  Sara (VPPL)" userId="7a5f1df4-0dd0-4c9e-a72f-a035cf318af6" providerId="ADAL" clId="{7F83441C-FBEE-4352-925F-0745A21765C9}" dt="2023-09-14T17:50:36.399" v="5473"/>
          <ac:graphicFrameMkLst>
            <pc:docMk/>
            <pc:sldMk cId="3191170877" sldId="2443"/>
            <ac:graphicFrameMk id="8" creationId="{FF86D724-693B-0D9D-47EA-2D497893D3B1}"/>
          </ac:graphicFrameMkLst>
        </pc:graphicFrameChg>
        <pc:picChg chg="add del mod">
          <ac:chgData name="van Leeuwen  Sara (VPPL)" userId="7a5f1df4-0dd0-4c9e-a72f-a035cf318af6" providerId="ADAL" clId="{7F83441C-FBEE-4352-925F-0745A21765C9}" dt="2023-09-14T17:51:51.780" v="5820"/>
          <ac:picMkLst>
            <pc:docMk/>
            <pc:sldMk cId="3191170877" sldId="2443"/>
            <ac:picMk id="12" creationId="{23239B08-EF57-2505-714D-02ABBEF33590}"/>
          </ac:picMkLst>
        </pc:picChg>
        <pc:picChg chg="add mod">
          <ac:chgData name="van Leeuwen  Sara (VPPL)" userId="7a5f1df4-0dd0-4c9e-a72f-a035cf318af6" providerId="ADAL" clId="{7F83441C-FBEE-4352-925F-0745A21765C9}" dt="2023-09-14T17:53:04.753" v="5842" actId="1036"/>
          <ac:picMkLst>
            <pc:docMk/>
            <pc:sldMk cId="3191170877" sldId="2443"/>
            <ac:picMk id="13" creationId="{92ADF850-A62D-53A7-659C-2F95888667A6}"/>
          </ac:picMkLst>
        </pc:picChg>
        <pc:picChg chg="add mod">
          <ac:chgData name="van Leeuwen  Sara (VPPL)" userId="7a5f1df4-0dd0-4c9e-a72f-a035cf318af6" providerId="ADAL" clId="{7F83441C-FBEE-4352-925F-0745A21765C9}" dt="2023-09-14T17:53:04.753" v="5842" actId="1036"/>
          <ac:picMkLst>
            <pc:docMk/>
            <pc:sldMk cId="3191170877" sldId="2443"/>
            <ac:picMk id="14" creationId="{87F4E5DE-EE39-83A8-1A0C-CC5591CAB76B}"/>
          </ac:picMkLst>
        </pc:picChg>
        <pc:picChg chg="add mod">
          <ac:chgData name="van Leeuwen  Sara (VPPL)" userId="7a5f1df4-0dd0-4c9e-a72f-a035cf318af6" providerId="ADAL" clId="{7F83441C-FBEE-4352-925F-0745A21765C9}" dt="2023-09-14T17:53:04.753" v="5842" actId="1036"/>
          <ac:picMkLst>
            <pc:docMk/>
            <pc:sldMk cId="3191170877" sldId="2443"/>
            <ac:picMk id="15" creationId="{A5B5413E-3AB6-6BCB-B61F-BC0480B2F119}"/>
          </ac:picMkLst>
        </pc:picChg>
        <pc:picChg chg="add mod">
          <ac:chgData name="van Leeuwen  Sara (VPPL)" userId="7a5f1df4-0dd0-4c9e-a72f-a035cf318af6" providerId="ADAL" clId="{7F83441C-FBEE-4352-925F-0745A21765C9}" dt="2023-09-14T17:53:04.753" v="5842" actId="1036"/>
          <ac:picMkLst>
            <pc:docMk/>
            <pc:sldMk cId="3191170877" sldId="2443"/>
            <ac:picMk id="16" creationId="{9C353BF5-5831-DC36-D15F-D3D70B8D3D82}"/>
          </ac:picMkLst>
        </pc:picChg>
        <pc:picChg chg="add mod">
          <ac:chgData name="van Leeuwen  Sara (VPPL)" userId="7a5f1df4-0dd0-4c9e-a72f-a035cf318af6" providerId="ADAL" clId="{7F83441C-FBEE-4352-925F-0745A21765C9}" dt="2023-09-14T17:53:10.077" v="5846" actId="1035"/>
          <ac:picMkLst>
            <pc:docMk/>
            <pc:sldMk cId="3191170877" sldId="2443"/>
            <ac:picMk id="17" creationId="{C8769AF6-8D06-05B7-E408-734752A36478}"/>
          </ac:picMkLst>
        </pc:picChg>
      </pc:sldChg>
      <pc:sldMasterChg chg="modSp mod modSldLayout">
        <pc:chgData name="van Leeuwen  Sara (VPPL)" userId="7a5f1df4-0dd0-4c9e-a72f-a035cf318af6" providerId="ADAL" clId="{7F83441C-FBEE-4352-925F-0745A21765C9}" dt="2023-09-14T16:49:26.769" v="2861"/>
        <pc:sldMasterMkLst>
          <pc:docMk/>
          <pc:sldMasterMk cId="409606273" sldId="2147483648"/>
        </pc:sldMasterMkLst>
        <pc:spChg chg="mod">
          <ac:chgData name="van Leeuwen  Sara (VPPL)" userId="7a5f1df4-0dd0-4c9e-a72f-a035cf318af6" providerId="ADAL" clId="{7F83441C-FBEE-4352-925F-0745A21765C9}" dt="2023-09-14T16:45:29.764" v="2832"/>
          <ac:spMkLst>
            <pc:docMk/>
            <pc:sldMasterMk cId="409606273" sldId="2147483648"/>
            <ac:spMk id="5" creationId="{411EC403-6E63-4450-AFDD-66CA49D6CCBE}"/>
          </ac:spMkLst>
        </pc:spChg>
        <pc:sldLayoutChg chg="modSp mod">
          <pc:chgData name="van Leeuwen  Sara (VPPL)" userId="7a5f1df4-0dd0-4c9e-a72f-a035cf318af6" providerId="ADAL" clId="{7F83441C-FBEE-4352-925F-0745A21765C9}" dt="2023-09-14T16:45:22.413" v="2831"/>
          <pc:sldLayoutMkLst>
            <pc:docMk/>
            <pc:sldMasterMk cId="409606273" sldId="2147483648"/>
            <pc:sldLayoutMk cId="2221599722" sldId="2147483650"/>
          </pc:sldLayoutMkLst>
          <pc:spChg chg="mod">
            <ac:chgData name="van Leeuwen  Sara (VPPL)" userId="7a5f1df4-0dd0-4c9e-a72f-a035cf318af6" providerId="ADAL" clId="{7F83441C-FBEE-4352-925F-0745A21765C9}" dt="2023-09-14T16:45:22.413" v="2831"/>
            <ac:spMkLst>
              <pc:docMk/>
              <pc:sldMasterMk cId="409606273" sldId="2147483648"/>
              <pc:sldLayoutMk cId="2221599722" sldId="2147483650"/>
              <ac:spMk id="5" creationId="{1BC78786-28C3-4EAB-A3FC-1A4BFA8447EC}"/>
            </ac:spMkLst>
          </pc:spChg>
        </pc:sldLayoutChg>
        <pc:sldLayoutChg chg="modSp mod">
          <pc:chgData name="van Leeuwen  Sara (VPPL)" userId="7a5f1df4-0dd0-4c9e-a72f-a035cf318af6" providerId="ADAL" clId="{7F83441C-FBEE-4352-925F-0745A21765C9}" dt="2023-09-14T16:45:47.259" v="2833"/>
          <pc:sldLayoutMkLst>
            <pc:docMk/>
            <pc:sldMasterMk cId="409606273" sldId="2147483648"/>
            <pc:sldLayoutMk cId="1888753134" sldId="2147483655"/>
          </pc:sldLayoutMkLst>
          <pc:spChg chg="mod">
            <ac:chgData name="van Leeuwen  Sara (VPPL)" userId="7a5f1df4-0dd0-4c9e-a72f-a035cf318af6" providerId="ADAL" clId="{7F83441C-FBEE-4352-925F-0745A21765C9}" dt="2023-09-14T16:45:47.259" v="2833"/>
            <ac:spMkLst>
              <pc:docMk/>
              <pc:sldMasterMk cId="409606273" sldId="2147483648"/>
              <pc:sldLayoutMk cId="1888753134" sldId="2147483655"/>
              <ac:spMk id="5" creationId="{1BC78786-28C3-4EAB-A3FC-1A4BFA8447EC}"/>
            </ac:spMkLst>
          </pc:spChg>
        </pc:sldLayoutChg>
        <pc:sldLayoutChg chg="modSp mod">
          <pc:chgData name="van Leeuwen  Sara (VPPL)" userId="7a5f1df4-0dd0-4c9e-a72f-a035cf318af6" providerId="ADAL" clId="{7F83441C-FBEE-4352-925F-0745A21765C9}" dt="2023-09-14T16:45:50.822" v="2834"/>
          <pc:sldLayoutMkLst>
            <pc:docMk/>
            <pc:sldMasterMk cId="409606273" sldId="2147483648"/>
            <pc:sldLayoutMk cId="426001722" sldId="2147483656"/>
          </pc:sldLayoutMkLst>
          <pc:spChg chg="mod">
            <ac:chgData name="van Leeuwen  Sara (VPPL)" userId="7a5f1df4-0dd0-4c9e-a72f-a035cf318af6" providerId="ADAL" clId="{7F83441C-FBEE-4352-925F-0745A21765C9}" dt="2023-09-14T16:45:50.822" v="2834"/>
            <ac:spMkLst>
              <pc:docMk/>
              <pc:sldMasterMk cId="409606273" sldId="2147483648"/>
              <pc:sldLayoutMk cId="426001722" sldId="2147483656"/>
              <ac:spMk id="5" creationId="{1BC78786-28C3-4EAB-A3FC-1A4BFA8447EC}"/>
            </ac:spMkLst>
          </pc:spChg>
        </pc:sldLayoutChg>
        <pc:sldLayoutChg chg="modSp mod">
          <pc:chgData name="van Leeuwen  Sara (VPPL)" userId="7a5f1df4-0dd0-4c9e-a72f-a035cf318af6" providerId="ADAL" clId="{7F83441C-FBEE-4352-925F-0745A21765C9}" dt="2023-09-14T16:45:57.176" v="2835"/>
          <pc:sldLayoutMkLst>
            <pc:docMk/>
            <pc:sldMasterMk cId="409606273" sldId="2147483648"/>
            <pc:sldLayoutMk cId="3716835328" sldId="2147483657"/>
          </pc:sldLayoutMkLst>
          <pc:spChg chg="mod">
            <ac:chgData name="van Leeuwen  Sara (VPPL)" userId="7a5f1df4-0dd0-4c9e-a72f-a035cf318af6" providerId="ADAL" clId="{7F83441C-FBEE-4352-925F-0745A21765C9}" dt="2023-09-14T16:45:57.176" v="2835"/>
            <ac:spMkLst>
              <pc:docMk/>
              <pc:sldMasterMk cId="409606273" sldId="2147483648"/>
              <pc:sldLayoutMk cId="3716835328" sldId="2147483657"/>
              <ac:spMk id="5" creationId="{1BC78786-28C3-4EAB-A3FC-1A4BFA8447EC}"/>
            </ac:spMkLst>
          </pc:spChg>
        </pc:sldLayoutChg>
        <pc:sldLayoutChg chg="modSp mod">
          <pc:chgData name="van Leeuwen  Sara (VPPL)" userId="7a5f1df4-0dd0-4c9e-a72f-a035cf318af6" providerId="ADAL" clId="{7F83441C-FBEE-4352-925F-0745A21765C9}" dt="2023-09-14T16:46:01.149" v="2836"/>
          <pc:sldLayoutMkLst>
            <pc:docMk/>
            <pc:sldMasterMk cId="409606273" sldId="2147483648"/>
            <pc:sldLayoutMk cId="943852122" sldId="2147483658"/>
          </pc:sldLayoutMkLst>
          <pc:spChg chg="mod">
            <ac:chgData name="van Leeuwen  Sara (VPPL)" userId="7a5f1df4-0dd0-4c9e-a72f-a035cf318af6" providerId="ADAL" clId="{7F83441C-FBEE-4352-925F-0745A21765C9}" dt="2023-09-14T16:46:01.149" v="2836"/>
            <ac:spMkLst>
              <pc:docMk/>
              <pc:sldMasterMk cId="409606273" sldId="2147483648"/>
              <pc:sldLayoutMk cId="943852122" sldId="2147483658"/>
              <ac:spMk id="5" creationId="{1BC78786-28C3-4EAB-A3FC-1A4BFA8447EC}"/>
            </ac:spMkLst>
          </pc:spChg>
        </pc:sldLayoutChg>
        <pc:sldLayoutChg chg="modSp mod">
          <pc:chgData name="van Leeuwen  Sara (VPPL)" userId="7a5f1df4-0dd0-4c9e-a72f-a035cf318af6" providerId="ADAL" clId="{7F83441C-FBEE-4352-925F-0745A21765C9}" dt="2023-09-14T16:46:06.211" v="2837"/>
          <pc:sldLayoutMkLst>
            <pc:docMk/>
            <pc:sldMasterMk cId="409606273" sldId="2147483648"/>
            <pc:sldLayoutMk cId="2842048334" sldId="2147483659"/>
          </pc:sldLayoutMkLst>
          <pc:spChg chg="mod">
            <ac:chgData name="van Leeuwen  Sara (VPPL)" userId="7a5f1df4-0dd0-4c9e-a72f-a035cf318af6" providerId="ADAL" clId="{7F83441C-FBEE-4352-925F-0745A21765C9}" dt="2023-09-14T16:46:06.211" v="2837"/>
            <ac:spMkLst>
              <pc:docMk/>
              <pc:sldMasterMk cId="409606273" sldId="2147483648"/>
              <pc:sldLayoutMk cId="2842048334" sldId="2147483659"/>
              <ac:spMk id="5" creationId="{1BC78786-28C3-4EAB-A3FC-1A4BFA8447EC}"/>
            </ac:spMkLst>
          </pc:spChg>
        </pc:sldLayoutChg>
        <pc:sldLayoutChg chg="modSp mod">
          <pc:chgData name="van Leeuwen  Sara (VPPL)" userId="7a5f1df4-0dd0-4c9e-a72f-a035cf318af6" providerId="ADAL" clId="{7F83441C-FBEE-4352-925F-0745A21765C9}" dt="2023-09-14T16:47:08.143" v="2841"/>
          <pc:sldLayoutMkLst>
            <pc:docMk/>
            <pc:sldMasterMk cId="409606273" sldId="2147483648"/>
            <pc:sldLayoutMk cId="3996394784" sldId="2147483660"/>
          </pc:sldLayoutMkLst>
          <pc:spChg chg="mod">
            <ac:chgData name="van Leeuwen  Sara (VPPL)" userId="7a5f1df4-0dd0-4c9e-a72f-a035cf318af6" providerId="ADAL" clId="{7F83441C-FBEE-4352-925F-0745A21765C9}" dt="2023-09-14T16:47:08.143" v="2841"/>
            <ac:spMkLst>
              <pc:docMk/>
              <pc:sldMasterMk cId="409606273" sldId="2147483648"/>
              <pc:sldLayoutMk cId="3996394784" sldId="2147483660"/>
              <ac:spMk id="5" creationId="{1BC78786-28C3-4EAB-A3FC-1A4BFA8447EC}"/>
            </ac:spMkLst>
          </pc:spChg>
        </pc:sldLayoutChg>
        <pc:sldLayoutChg chg="modSp mod">
          <pc:chgData name="van Leeuwen  Sara (VPPL)" userId="7a5f1df4-0dd0-4c9e-a72f-a035cf318af6" providerId="ADAL" clId="{7F83441C-FBEE-4352-925F-0745A21765C9}" dt="2023-09-14T16:47:11.931" v="2842"/>
          <pc:sldLayoutMkLst>
            <pc:docMk/>
            <pc:sldMasterMk cId="409606273" sldId="2147483648"/>
            <pc:sldLayoutMk cId="1085750778" sldId="2147483661"/>
          </pc:sldLayoutMkLst>
          <pc:spChg chg="mod">
            <ac:chgData name="van Leeuwen  Sara (VPPL)" userId="7a5f1df4-0dd0-4c9e-a72f-a035cf318af6" providerId="ADAL" clId="{7F83441C-FBEE-4352-925F-0745A21765C9}" dt="2023-09-14T16:47:11.931" v="2842"/>
            <ac:spMkLst>
              <pc:docMk/>
              <pc:sldMasterMk cId="409606273" sldId="2147483648"/>
              <pc:sldLayoutMk cId="1085750778" sldId="2147483661"/>
              <ac:spMk id="5" creationId="{1BC78786-28C3-4EAB-A3FC-1A4BFA8447EC}"/>
            </ac:spMkLst>
          </pc:spChg>
        </pc:sldLayoutChg>
        <pc:sldLayoutChg chg="modSp mod">
          <pc:chgData name="van Leeuwen  Sara (VPPL)" userId="7a5f1df4-0dd0-4c9e-a72f-a035cf318af6" providerId="ADAL" clId="{7F83441C-FBEE-4352-925F-0745A21765C9}" dt="2023-09-14T16:47:16.542" v="2843"/>
          <pc:sldLayoutMkLst>
            <pc:docMk/>
            <pc:sldMasterMk cId="409606273" sldId="2147483648"/>
            <pc:sldLayoutMk cId="2252988954" sldId="2147483662"/>
          </pc:sldLayoutMkLst>
          <pc:spChg chg="mod">
            <ac:chgData name="van Leeuwen  Sara (VPPL)" userId="7a5f1df4-0dd0-4c9e-a72f-a035cf318af6" providerId="ADAL" clId="{7F83441C-FBEE-4352-925F-0745A21765C9}" dt="2023-09-14T16:47:16.542" v="2843"/>
            <ac:spMkLst>
              <pc:docMk/>
              <pc:sldMasterMk cId="409606273" sldId="2147483648"/>
              <pc:sldLayoutMk cId="2252988954" sldId="2147483662"/>
              <ac:spMk id="5" creationId="{1BC78786-28C3-4EAB-A3FC-1A4BFA8447EC}"/>
            </ac:spMkLst>
          </pc:spChg>
        </pc:sldLayoutChg>
        <pc:sldLayoutChg chg="modSp mod">
          <pc:chgData name="van Leeuwen  Sara (VPPL)" userId="7a5f1df4-0dd0-4c9e-a72f-a035cf318af6" providerId="ADAL" clId="{7F83441C-FBEE-4352-925F-0745A21765C9}" dt="2023-09-14T16:47:21.375" v="2844"/>
          <pc:sldLayoutMkLst>
            <pc:docMk/>
            <pc:sldMasterMk cId="409606273" sldId="2147483648"/>
            <pc:sldLayoutMk cId="2928661315" sldId="2147483663"/>
          </pc:sldLayoutMkLst>
          <pc:spChg chg="mod">
            <ac:chgData name="van Leeuwen  Sara (VPPL)" userId="7a5f1df4-0dd0-4c9e-a72f-a035cf318af6" providerId="ADAL" clId="{7F83441C-FBEE-4352-925F-0745A21765C9}" dt="2023-09-14T16:47:21.375" v="2844"/>
            <ac:spMkLst>
              <pc:docMk/>
              <pc:sldMasterMk cId="409606273" sldId="2147483648"/>
              <pc:sldLayoutMk cId="2928661315" sldId="2147483663"/>
              <ac:spMk id="5" creationId="{1BC78786-28C3-4EAB-A3FC-1A4BFA8447EC}"/>
            </ac:spMkLst>
          </pc:spChg>
        </pc:sldLayoutChg>
        <pc:sldLayoutChg chg="addSp delSp modSp mod">
          <pc:chgData name="van Leeuwen  Sara (VPPL)" userId="7a5f1df4-0dd0-4c9e-a72f-a035cf318af6" providerId="ADAL" clId="{7F83441C-FBEE-4352-925F-0745A21765C9}" dt="2023-09-14T16:48:44.974" v="2853"/>
          <pc:sldLayoutMkLst>
            <pc:docMk/>
            <pc:sldMasterMk cId="409606273" sldId="2147483648"/>
            <pc:sldLayoutMk cId="691335200" sldId="2147483665"/>
          </pc:sldLayoutMkLst>
          <pc:spChg chg="mod">
            <ac:chgData name="van Leeuwen  Sara (VPPL)" userId="7a5f1df4-0dd0-4c9e-a72f-a035cf318af6" providerId="ADAL" clId="{7F83441C-FBEE-4352-925F-0745A21765C9}" dt="2023-09-14T16:48:44.974" v="2853"/>
            <ac:spMkLst>
              <pc:docMk/>
              <pc:sldMasterMk cId="409606273" sldId="2147483648"/>
              <pc:sldLayoutMk cId="691335200" sldId="2147483665"/>
              <ac:spMk id="4" creationId="{00000000-0000-0000-0000-000000000000}"/>
            </ac:spMkLst>
          </pc:spChg>
          <pc:spChg chg="add del mod">
            <ac:chgData name="van Leeuwen  Sara (VPPL)" userId="7a5f1df4-0dd0-4c9e-a72f-a035cf318af6" providerId="ADAL" clId="{7F83441C-FBEE-4352-925F-0745A21765C9}" dt="2023-09-14T16:48:27.174" v="2851"/>
            <ac:spMkLst>
              <pc:docMk/>
              <pc:sldMasterMk cId="409606273" sldId="2147483648"/>
              <pc:sldLayoutMk cId="691335200" sldId="2147483665"/>
              <ac:spMk id="8" creationId="{2ED13085-678D-EC72-D0FE-9D0F0A5FF929}"/>
            </ac:spMkLst>
          </pc:spChg>
        </pc:sldLayoutChg>
        <pc:sldLayoutChg chg="modSp mod">
          <pc:chgData name="van Leeuwen  Sara (VPPL)" userId="7a5f1df4-0dd0-4c9e-a72f-a035cf318af6" providerId="ADAL" clId="{7F83441C-FBEE-4352-925F-0745A21765C9}" dt="2023-09-14T16:48:37.132" v="2852"/>
          <pc:sldLayoutMkLst>
            <pc:docMk/>
            <pc:sldMasterMk cId="409606273" sldId="2147483648"/>
            <pc:sldLayoutMk cId="39068553" sldId="2147483666"/>
          </pc:sldLayoutMkLst>
          <pc:spChg chg="mod">
            <ac:chgData name="van Leeuwen  Sara (VPPL)" userId="7a5f1df4-0dd0-4c9e-a72f-a035cf318af6" providerId="ADAL" clId="{7F83441C-FBEE-4352-925F-0745A21765C9}" dt="2023-09-14T16:48:37.132" v="2852"/>
            <ac:spMkLst>
              <pc:docMk/>
              <pc:sldMasterMk cId="409606273" sldId="2147483648"/>
              <pc:sldLayoutMk cId="39068553" sldId="2147483666"/>
              <ac:spMk id="5" creationId="{00000000-0000-0000-0000-000000000000}"/>
            </ac:spMkLst>
          </pc:spChg>
        </pc:sldLayoutChg>
        <pc:sldLayoutChg chg="modSp mod">
          <pc:chgData name="van Leeuwen  Sara (VPPL)" userId="7a5f1df4-0dd0-4c9e-a72f-a035cf318af6" providerId="ADAL" clId="{7F83441C-FBEE-4352-925F-0745A21765C9}" dt="2023-09-14T16:48:54.245" v="2854"/>
          <pc:sldLayoutMkLst>
            <pc:docMk/>
            <pc:sldMasterMk cId="409606273" sldId="2147483648"/>
            <pc:sldLayoutMk cId="2533257179" sldId="2147483668"/>
          </pc:sldLayoutMkLst>
          <pc:spChg chg="mod">
            <ac:chgData name="van Leeuwen  Sara (VPPL)" userId="7a5f1df4-0dd0-4c9e-a72f-a035cf318af6" providerId="ADAL" clId="{7F83441C-FBEE-4352-925F-0745A21765C9}" dt="2023-09-14T16:48:54.245" v="2854"/>
            <ac:spMkLst>
              <pc:docMk/>
              <pc:sldMasterMk cId="409606273" sldId="2147483648"/>
              <pc:sldLayoutMk cId="2533257179" sldId="2147483668"/>
              <ac:spMk id="5" creationId="{1BC78786-28C3-4EAB-A3FC-1A4BFA8447EC}"/>
            </ac:spMkLst>
          </pc:spChg>
        </pc:sldLayoutChg>
        <pc:sldLayoutChg chg="modSp mod">
          <pc:chgData name="van Leeuwen  Sara (VPPL)" userId="7a5f1df4-0dd0-4c9e-a72f-a035cf318af6" providerId="ADAL" clId="{7F83441C-FBEE-4352-925F-0745A21765C9}" dt="2023-09-14T16:48:58.047" v="2855"/>
          <pc:sldLayoutMkLst>
            <pc:docMk/>
            <pc:sldMasterMk cId="409606273" sldId="2147483648"/>
            <pc:sldLayoutMk cId="251652625" sldId="2147483669"/>
          </pc:sldLayoutMkLst>
          <pc:spChg chg="mod">
            <ac:chgData name="van Leeuwen  Sara (VPPL)" userId="7a5f1df4-0dd0-4c9e-a72f-a035cf318af6" providerId="ADAL" clId="{7F83441C-FBEE-4352-925F-0745A21765C9}" dt="2023-09-14T16:48:58.047" v="2855"/>
            <ac:spMkLst>
              <pc:docMk/>
              <pc:sldMasterMk cId="409606273" sldId="2147483648"/>
              <pc:sldLayoutMk cId="251652625" sldId="2147483669"/>
              <ac:spMk id="5" creationId="{1BC78786-28C3-4EAB-A3FC-1A4BFA8447EC}"/>
            </ac:spMkLst>
          </pc:spChg>
        </pc:sldLayoutChg>
        <pc:sldLayoutChg chg="modSp mod">
          <pc:chgData name="van Leeuwen  Sara (VPPL)" userId="7a5f1df4-0dd0-4c9e-a72f-a035cf318af6" providerId="ADAL" clId="{7F83441C-FBEE-4352-925F-0745A21765C9}" dt="2023-09-14T16:49:02.518" v="2856"/>
          <pc:sldLayoutMkLst>
            <pc:docMk/>
            <pc:sldMasterMk cId="409606273" sldId="2147483648"/>
            <pc:sldLayoutMk cId="870631199" sldId="2147483670"/>
          </pc:sldLayoutMkLst>
          <pc:spChg chg="mod">
            <ac:chgData name="van Leeuwen  Sara (VPPL)" userId="7a5f1df4-0dd0-4c9e-a72f-a035cf318af6" providerId="ADAL" clId="{7F83441C-FBEE-4352-925F-0745A21765C9}" dt="2023-09-14T16:49:02.518" v="2856"/>
            <ac:spMkLst>
              <pc:docMk/>
              <pc:sldMasterMk cId="409606273" sldId="2147483648"/>
              <pc:sldLayoutMk cId="870631199" sldId="2147483670"/>
              <ac:spMk id="5" creationId="{1BC78786-28C3-4EAB-A3FC-1A4BFA8447EC}"/>
            </ac:spMkLst>
          </pc:spChg>
        </pc:sldLayoutChg>
        <pc:sldLayoutChg chg="modSp mod">
          <pc:chgData name="van Leeuwen  Sara (VPPL)" userId="7a5f1df4-0dd0-4c9e-a72f-a035cf318af6" providerId="ADAL" clId="{7F83441C-FBEE-4352-925F-0745A21765C9}" dt="2023-09-14T16:49:08.005" v="2857"/>
          <pc:sldLayoutMkLst>
            <pc:docMk/>
            <pc:sldMasterMk cId="409606273" sldId="2147483648"/>
            <pc:sldLayoutMk cId="2996574597" sldId="2147483671"/>
          </pc:sldLayoutMkLst>
          <pc:spChg chg="mod">
            <ac:chgData name="van Leeuwen  Sara (VPPL)" userId="7a5f1df4-0dd0-4c9e-a72f-a035cf318af6" providerId="ADAL" clId="{7F83441C-FBEE-4352-925F-0745A21765C9}" dt="2023-09-14T16:49:08.005" v="2857"/>
            <ac:spMkLst>
              <pc:docMk/>
              <pc:sldMasterMk cId="409606273" sldId="2147483648"/>
              <pc:sldLayoutMk cId="2996574597" sldId="2147483671"/>
              <ac:spMk id="5" creationId="{1BC78786-28C3-4EAB-A3FC-1A4BFA8447EC}"/>
            </ac:spMkLst>
          </pc:spChg>
        </pc:sldLayoutChg>
        <pc:sldLayoutChg chg="modSp mod">
          <pc:chgData name="van Leeuwen  Sara (VPPL)" userId="7a5f1df4-0dd0-4c9e-a72f-a035cf318af6" providerId="ADAL" clId="{7F83441C-FBEE-4352-925F-0745A21765C9}" dt="2023-09-14T16:49:13.104" v="2858"/>
          <pc:sldLayoutMkLst>
            <pc:docMk/>
            <pc:sldMasterMk cId="409606273" sldId="2147483648"/>
            <pc:sldLayoutMk cId="3030196718" sldId="2147483672"/>
          </pc:sldLayoutMkLst>
          <pc:spChg chg="mod">
            <ac:chgData name="van Leeuwen  Sara (VPPL)" userId="7a5f1df4-0dd0-4c9e-a72f-a035cf318af6" providerId="ADAL" clId="{7F83441C-FBEE-4352-925F-0745A21765C9}" dt="2023-09-14T16:49:13.104" v="2858"/>
            <ac:spMkLst>
              <pc:docMk/>
              <pc:sldMasterMk cId="409606273" sldId="2147483648"/>
              <pc:sldLayoutMk cId="3030196718" sldId="2147483672"/>
              <ac:spMk id="5" creationId="{1BC78786-28C3-4EAB-A3FC-1A4BFA8447EC}"/>
            </ac:spMkLst>
          </pc:spChg>
        </pc:sldLayoutChg>
        <pc:sldLayoutChg chg="modSp mod">
          <pc:chgData name="van Leeuwen  Sara (VPPL)" userId="7a5f1df4-0dd0-4c9e-a72f-a035cf318af6" providerId="ADAL" clId="{7F83441C-FBEE-4352-925F-0745A21765C9}" dt="2023-09-14T16:49:17.196" v="2859"/>
          <pc:sldLayoutMkLst>
            <pc:docMk/>
            <pc:sldMasterMk cId="409606273" sldId="2147483648"/>
            <pc:sldLayoutMk cId="3016386643" sldId="2147483673"/>
          </pc:sldLayoutMkLst>
          <pc:spChg chg="mod">
            <ac:chgData name="van Leeuwen  Sara (VPPL)" userId="7a5f1df4-0dd0-4c9e-a72f-a035cf318af6" providerId="ADAL" clId="{7F83441C-FBEE-4352-925F-0745A21765C9}" dt="2023-09-14T16:49:17.196" v="2859"/>
            <ac:spMkLst>
              <pc:docMk/>
              <pc:sldMasterMk cId="409606273" sldId="2147483648"/>
              <pc:sldLayoutMk cId="3016386643" sldId="2147483673"/>
              <ac:spMk id="5" creationId="{1BC78786-28C3-4EAB-A3FC-1A4BFA8447EC}"/>
            </ac:spMkLst>
          </pc:spChg>
        </pc:sldLayoutChg>
        <pc:sldLayoutChg chg="modSp mod">
          <pc:chgData name="van Leeuwen  Sara (VPPL)" userId="7a5f1df4-0dd0-4c9e-a72f-a035cf318af6" providerId="ADAL" clId="{7F83441C-FBEE-4352-925F-0745A21765C9}" dt="2023-09-14T16:49:22.244" v="2860"/>
          <pc:sldLayoutMkLst>
            <pc:docMk/>
            <pc:sldMasterMk cId="409606273" sldId="2147483648"/>
            <pc:sldLayoutMk cId="2955461353" sldId="2147483674"/>
          </pc:sldLayoutMkLst>
          <pc:spChg chg="mod">
            <ac:chgData name="van Leeuwen  Sara (VPPL)" userId="7a5f1df4-0dd0-4c9e-a72f-a035cf318af6" providerId="ADAL" clId="{7F83441C-FBEE-4352-925F-0745A21765C9}" dt="2023-09-14T16:49:22.244" v="2860"/>
            <ac:spMkLst>
              <pc:docMk/>
              <pc:sldMasterMk cId="409606273" sldId="2147483648"/>
              <pc:sldLayoutMk cId="2955461353" sldId="2147483674"/>
              <ac:spMk id="5" creationId="{1BC78786-28C3-4EAB-A3FC-1A4BFA8447EC}"/>
            </ac:spMkLst>
          </pc:spChg>
        </pc:sldLayoutChg>
        <pc:sldLayoutChg chg="modSp mod">
          <pc:chgData name="van Leeuwen  Sara (VPPL)" userId="7a5f1df4-0dd0-4c9e-a72f-a035cf318af6" providerId="ADAL" clId="{7F83441C-FBEE-4352-925F-0745A21765C9}" dt="2023-09-14T16:49:26.769" v="2861"/>
          <pc:sldLayoutMkLst>
            <pc:docMk/>
            <pc:sldMasterMk cId="409606273" sldId="2147483648"/>
            <pc:sldLayoutMk cId="2096750995" sldId="2147483675"/>
          </pc:sldLayoutMkLst>
          <pc:spChg chg="mod">
            <ac:chgData name="van Leeuwen  Sara (VPPL)" userId="7a5f1df4-0dd0-4c9e-a72f-a035cf318af6" providerId="ADAL" clId="{7F83441C-FBEE-4352-925F-0745A21765C9}" dt="2023-09-14T16:49:26.769" v="2861"/>
            <ac:spMkLst>
              <pc:docMk/>
              <pc:sldMasterMk cId="409606273" sldId="2147483648"/>
              <pc:sldLayoutMk cId="2096750995" sldId="2147483675"/>
              <ac:spMk id="5" creationId="{1BC78786-28C3-4EAB-A3FC-1A4BFA8447EC}"/>
            </ac:spMkLst>
          </pc:spChg>
        </pc:sldLayoutChg>
      </pc:sldMasterChg>
    </pc:docChg>
  </pc:docChgLst>
  <pc:docChgLst>
    <pc:chgData name="van Leeuwen  Sara (VPPL)" userId="7a5f1df4-0dd0-4c9e-a72f-a035cf318af6" providerId="ADAL" clId="{AAA37DE2-93D3-44F8-BE87-C19EC6771CD3}"/>
    <pc:docChg chg="undo redo custSel addSld delSld modSld sldOrd modMainMaster modSection replTag modNotesMaster">
      <pc:chgData name="van Leeuwen  Sara (VPPL)" userId="7a5f1df4-0dd0-4c9e-a72f-a035cf318af6" providerId="ADAL" clId="{AAA37DE2-93D3-44F8-BE87-C19EC6771CD3}" dt="2023-09-21T09:45:13.436" v="17447" actId="1036"/>
      <pc:docMkLst>
        <pc:docMk/>
      </pc:docMkLst>
      <pc:sldChg chg="addSp delSp modSp add del mod modNotes">
        <pc:chgData name="van Leeuwen  Sara (VPPL)" userId="7a5f1df4-0dd0-4c9e-a72f-a035cf318af6" providerId="ADAL" clId="{AAA37DE2-93D3-44F8-BE87-C19EC6771CD3}" dt="2023-09-21T08:01:08.316" v="15416"/>
        <pc:sldMkLst>
          <pc:docMk/>
          <pc:sldMk cId="3227777584" sldId="422"/>
        </pc:sldMkLst>
        <pc:spChg chg="mod">
          <ac:chgData name="van Leeuwen  Sara (VPPL)" userId="7a5f1df4-0dd0-4c9e-a72f-a035cf318af6" providerId="ADAL" clId="{AAA37DE2-93D3-44F8-BE87-C19EC6771CD3}" dt="2023-09-21T08:01:07.622" v="13399" actId="948"/>
          <ac:spMkLst>
            <pc:docMk/>
            <pc:sldMk cId="3227777584" sldId="422"/>
            <ac:spMk id="2" creationId="{FC65B3EF-08EF-432C-BEBF-CB2B499FB533}"/>
          </ac:spMkLst>
        </pc:spChg>
        <pc:spChg chg="mod">
          <ac:chgData name="van Leeuwen  Sara (VPPL)" userId="7a5f1df4-0dd0-4c9e-a72f-a035cf318af6" providerId="ADAL" clId="{AAA37DE2-93D3-44F8-BE87-C19EC6771CD3}" dt="2023-09-21T07:58:43.571" v="4386" actId="947"/>
          <ac:spMkLst>
            <pc:docMk/>
            <pc:sldMk cId="3227777584" sldId="422"/>
            <ac:spMk id="3" creationId="{D248A836-D270-48AC-93BC-E789F2E8E734}"/>
          </ac:spMkLst>
        </pc:spChg>
        <pc:spChg chg="mod">
          <ac:chgData name="van Leeuwen  Sara (VPPL)" userId="7a5f1df4-0dd0-4c9e-a72f-a035cf318af6" providerId="ADAL" clId="{AAA37DE2-93D3-44F8-BE87-C19EC6771CD3}" dt="2023-09-21T07:58:43.587" v="4388" actId="947"/>
          <ac:spMkLst>
            <pc:docMk/>
            <pc:sldMk cId="3227777584" sldId="422"/>
            <ac:spMk id="4" creationId="{305442D0-14ED-4C2A-A91B-14866EB77D60}"/>
          </ac:spMkLst>
        </pc:spChg>
        <pc:spChg chg="mod">
          <ac:chgData name="van Leeuwen  Sara (VPPL)" userId="7a5f1df4-0dd0-4c9e-a72f-a035cf318af6" providerId="ADAL" clId="{AAA37DE2-93D3-44F8-BE87-C19EC6771CD3}" dt="2023-09-21T08:01:07.315" v="12207" actId="790"/>
          <ac:spMkLst>
            <pc:docMk/>
            <pc:sldMk cId="3227777584" sldId="422"/>
            <ac:spMk id="5" creationId="{B057CD9C-7E82-4EE5-8D4A-CF1F831FF9E4}"/>
          </ac:spMkLst>
        </pc:spChg>
        <pc:spChg chg="mod">
          <ac:chgData name="van Leeuwen  Sara (VPPL)" userId="7a5f1df4-0dd0-4c9e-a72f-a035cf318af6" providerId="ADAL" clId="{AAA37DE2-93D3-44F8-BE87-C19EC6771CD3}" dt="2023-09-21T07:58:43.587" v="4392" actId="947"/>
          <ac:spMkLst>
            <pc:docMk/>
            <pc:sldMk cId="3227777584" sldId="422"/>
            <ac:spMk id="6" creationId="{727CB4E9-0DB2-4603-A8AD-72263838A1CA}"/>
          </ac:spMkLst>
        </pc:spChg>
        <pc:spChg chg="add del mod modVis">
          <ac:chgData name="van Leeuwen  Sara (VPPL)" userId="7a5f1df4-0dd0-4c9e-a72f-a035cf318af6" providerId="ADAL" clId="{AAA37DE2-93D3-44F8-BE87-C19EC6771CD3}" dt="2023-09-21T08:01:08.115" v="15229" actId="478"/>
          <ac:spMkLst>
            <pc:docMk/>
            <pc:sldMk cId="3227777584" sldId="422"/>
            <ac:spMk id="7" creationId="{6BA4EF55-7CB8-B464-6433-9623013C5F4F}"/>
          </ac:spMkLst>
        </pc:spChg>
        <pc:spChg chg="mod">
          <ac:chgData name="van Leeuwen  Sara (VPPL)" userId="7a5f1df4-0dd0-4c9e-a72f-a035cf318af6" providerId="ADAL" clId="{AAA37DE2-93D3-44F8-BE87-C19EC6771CD3}" dt="2023-09-21T07:58:43.587" v="4394" actId="947"/>
          <ac:spMkLst>
            <pc:docMk/>
            <pc:sldMk cId="3227777584" sldId="422"/>
            <ac:spMk id="13" creationId="{53D2063C-9ED4-498A-AE70-37A043831FA0}"/>
          </ac:spMkLst>
        </pc:spChg>
        <pc:graphicFrameChg chg="mod">
          <ac:chgData name="van Leeuwen  Sara (VPPL)" userId="7a5f1df4-0dd0-4c9e-a72f-a035cf318af6" providerId="ADAL" clId="{AAA37DE2-93D3-44F8-BE87-C19EC6771CD3}" dt="2023-09-21T08:01:08.316" v="15416"/>
          <ac:graphicFrameMkLst>
            <pc:docMk/>
            <pc:sldMk cId="3227777584" sldId="422"/>
            <ac:graphicFrameMk id="9" creationId="{99C7040E-B05F-1FC8-1864-7EE431F9FC9E}"/>
          </ac:graphicFrameMkLst>
        </pc:graphicFrameChg>
      </pc:sldChg>
      <pc:sldChg chg="add del">
        <pc:chgData name="van Leeuwen  Sara (VPPL)" userId="7a5f1df4-0dd0-4c9e-a72f-a035cf318af6" providerId="ADAL" clId="{AAA37DE2-93D3-44F8-BE87-C19EC6771CD3}" dt="2023-09-20T13:47:39.509" v="2053" actId="47"/>
        <pc:sldMkLst>
          <pc:docMk/>
          <pc:sldMk cId="462350290" sldId="441"/>
        </pc:sldMkLst>
      </pc:sldChg>
      <pc:sldChg chg="addSp delSp modSp mod modNotes">
        <pc:chgData name="van Leeuwen  Sara (VPPL)" userId="7a5f1df4-0dd0-4c9e-a72f-a035cf318af6" providerId="ADAL" clId="{AAA37DE2-93D3-44F8-BE87-C19EC6771CD3}" dt="2023-09-21T08:01:08.376" v="15450"/>
        <pc:sldMkLst>
          <pc:docMk/>
          <pc:sldMk cId="286829603" sldId="2339"/>
        </pc:sldMkLst>
        <pc:spChg chg="mod">
          <ac:chgData name="van Leeuwen  Sara (VPPL)" userId="7a5f1df4-0dd0-4c9e-a72f-a035cf318af6" providerId="ADAL" clId="{AAA37DE2-93D3-44F8-BE87-C19EC6771CD3}" dt="2023-09-21T08:01:08.047" v="14956" actId="948"/>
          <ac:spMkLst>
            <pc:docMk/>
            <pc:sldMk cId="286829603" sldId="2339"/>
            <ac:spMk id="2" creationId="{00000000-0000-0000-0000-000000000000}"/>
          </ac:spMkLst>
        </pc:spChg>
        <pc:spChg chg="add del mod modVis">
          <ac:chgData name="van Leeuwen  Sara (VPPL)" userId="7a5f1df4-0dd0-4c9e-a72f-a035cf318af6" providerId="ADAL" clId="{AAA37DE2-93D3-44F8-BE87-C19EC6771CD3}" dt="2023-09-21T08:01:08.141" v="15319" actId="478"/>
          <ac:spMkLst>
            <pc:docMk/>
            <pc:sldMk cId="286829603" sldId="2339"/>
            <ac:spMk id="3" creationId="{DEC6A7DE-10D6-2A2D-DDC0-3BC5545ECD7B}"/>
          </ac:spMkLst>
        </pc:spChg>
        <pc:spChg chg="mod">
          <ac:chgData name="van Leeuwen  Sara (VPPL)" userId="7a5f1df4-0dd0-4c9e-a72f-a035cf318af6" providerId="ADAL" clId="{AAA37DE2-93D3-44F8-BE87-C19EC6771CD3}" dt="2023-09-21T07:58:43.439" v="4180" actId="947"/>
          <ac:spMkLst>
            <pc:docMk/>
            <pc:sldMk cId="286829603" sldId="2339"/>
            <ac:spMk id="4" creationId="{00000000-0000-0000-0000-000000000000}"/>
          </ac:spMkLst>
        </pc:spChg>
        <pc:spChg chg="mod">
          <ac:chgData name="van Leeuwen  Sara (VPPL)" userId="7a5f1df4-0dd0-4c9e-a72f-a035cf318af6" providerId="ADAL" clId="{AAA37DE2-93D3-44F8-BE87-C19EC6771CD3}" dt="2023-09-21T07:58:43.444" v="4184" actId="947"/>
          <ac:spMkLst>
            <pc:docMk/>
            <pc:sldMk cId="286829603" sldId="2339"/>
            <ac:spMk id="6" creationId="{00000000-0000-0000-0000-000000000000}"/>
          </ac:spMkLst>
        </pc:spChg>
        <pc:spChg chg="mod">
          <ac:chgData name="van Leeuwen  Sara (VPPL)" userId="7a5f1df4-0dd0-4c9e-a72f-a035cf318af6" providerId="ADAL" clId="{AAA37DE2-93D3-44F8-BE87-C19EC6771CD3}" dt="2023-09-21T07:58:43.460" v="4216" actId="947"/>
          <ac:spMkLst>
            <pc:docMk/>
            <pc:sldMk cId="286829603" sldId="2339"/>
            <ac:spMk id="7" creationId="{7569C4AA-99FC-1B98-B5A8-E2E34D251296}"/>
          </ac:spMkLst>
        </pc:spChg>
        <pc:spChg chg="mod">
          <ac:chgData name="van Leeuwen  Sara (VPPL)" userId="7a5f1df4-0dd0-4c9e-a72f-a035cf318af6" providerId="ADAL" clId="{AAA37DE2-93D3-44F8-BE87-C19EC6771CD3}" dt="2023-09-21T07:58:43.460" v="4210" actId="947"/>
          <ac:spMkLst>
            <pc:docMk/>
            <pc:sldMk cId="286829603" sldId="2339"/>
            <ac:spMk id="8" creationId="{00000000-0000-0000-0000-000000000000}"/>
          </ac:spMkLst>
        </pc:spChg>
        <pc:spChg chg="mod">
          <ac:chgData name="van Leeuwen  Sara (VPPL)" userId="7a5f1df4-0dd0-4c9e-a72f-a035cf318af6" providerId="ADAL" clId="{AAA37DE2-93D3-44F8-BE87-C19EC6771CD3}" dt="2023-09-21T08:01:07.275" v="12015" actId="790"/>
          <ac:spMkLst>
            <pc:docMk/>
            <pc:sldMk cId="286829603" sldId="2339"/>
            <ac:spMk id="9" creationId="{00000000-0000-0000-0000-000000000000}"/>
          </ac:spMkLst>
        </pc:spChg>
        <pc:spChg chg="mod">
          <ac:chgData name="van Leeuwen  Sara (VPPL)" userId="7a5f1df4-0dd0-4c9e-a72f-a035cf318af6" providerId="ADAL" clId="{AAA37DE2-93D3-44F8-BE87-C19EC6771CD3}" dt="2023-09-21T08:01:07.291" v="12038" actId="20577"/>
          <ac:spMkLst>
            <pc:docMk/>
            <pc:sldMk cId="286829603" sldId="2339"/>
            <ac:spMk id="10" creationId="{6F41AF3B-302E-E75F-BA20-A8FFB5A1C173}"/>
          </ac:spMkLst>
        </pc:spChg>
        <pc:spChg chg="mod">
          <ac:chgData name="van Leeuwen  Sara (VPPL)" userId="7a5f1df4-0dd0-4c9e-a72f-a035cf318af6" providerId="ADAL" clId="{AAA37DE2-93D3-44F8-BE87-C19EC6771CD3}" dt="2023-09-21T08:01:07.275" v="12010" actId="20577"/>
          <ac:spMkLst>
            <pc:docMk/>
            <pc:sldMk cId="286829603" sldId="2339"/>
            <ac:spMk id="11" creationId="{00000000-0000-0000-0000-000000000000}"/>
          </ac:spMkLst>
        </pc:spChg>
        <pc:spChg chg="mod">
          <ac:chgData name="van Leeuwen  Sara (VPPL)" userId="7a5f1df4-0dd0-4c9e-a72f-a035cf318af6" providerId="ADAL" clId="{AAA37DE2-93D3-44F8-BE87-C19EC6771CD3}" dt="2023-09-21T08:01:07.291" v="12042" actId="20577"/>
          <ac:spMkLst>
            <pc:docMk/>
            <pc:sldMk cId="286829603" sldId="2339"/>
            <ac:spMk id="13" creationId="{A2DA63D0-DB52-889F-2F2B-517DEC88A825}"/>
          </ac:spMkLst>
        </pc:spChg>
        <pc:spChg chg="mod">
          <ac:chgData name="van Leeuwen  Sara (VPPL)" userId="7a5f1df4-0dd0-4c9e-a72f-a035cf318af6" providerId="ADAL" clId="{AAA37DE2-93D3-44F8-BE87-C19EC6771CD3}" dt="2023-09-21T08:01:07.291" v="12046" actId="20577"/>
          <ac:spMkLst>
            <pc:docMk/>
            <pc:sldMk cId="286829603" sldId="2339"/>
            <ac:spMk id="14" creationId="{377CF0BC-CB95-8F98-6CEB-5CFEF27F7257}"/>
          </ac:spMkLst>
        </pc:spChg>
        <pc:spChg chg="mod">
          <ac:chgData name="van Leeuwen  Sara (VPPL)" userId="7a5f1df4-0dd0-4c9e-a72f-a035cf318af6" providerId="ADAL" clId="{AAA37DE2-93D3-44F8-BE87-C19EC6771CD3}" dt="2023-09-21T08:01:07.291" v="12047" actId="790"/>
          <ac:spMkLst>
            <pc:docMk/>
            <pc:sldMk cId="286829603" sldId="2339"/>
            <ac:spMk id="15" creationId="{156683EB-D727-AEEC-79F5-8D0E4AB20A6B}"/>
          </ac:spMkLst>
        </pc:spChg>
        <pc:spChg chg="mod">
          <ac:chgData name="van Leeuwen  Sara (VPPL)" userId="7a5f1df4-0dd0-4c9e-a72f-a035cf318af6" providerId="ADAL" clId="{AAA37DE2-93D3-44F8-BE87-C19EC6771CD3}" dt="2023-09-21T08:01:07.291" v="12049" actId="790"/>
          <ac:spMkLst>
            <pc:docMk/>
            <pc:sldMk cId="286829603" sldId="2339"/>
            <ac:spMk id="16" creationId="{FBA74DE1-7D88-9CC3-2F7B-6033EA6114E0}"/>
          </ac:spMkLst>
        </pc:spChg>
        <pc:spChg chg="mod">
          <ac:chgData name="van Leeuwen  Sara (VPPL)" userId="7a5f1df4-0dd0-4c9e-a72f-a035cf318af6" providerId="ADAL" clId="{AAA37DE2-93D3-44F8-BE87-C19EC6771CD3}" dt="2023-09-21T08:01:07.291" v="12051" actId="790"/>
          <ac:spMkLst>
            <pc:docMk/>
            <pc:sldMk cId="286829603" sldId="2339"/>
            <ac:spMk id="17" creationId="{996C98F5-E864-5923-1607-1B96A5319F95}"/>
          </ac:spMkLst>
        </pc:spChg>
        <pc:spChg chg="mod">
          <ac:chgData name="van Leeuwen  Sara (VPPL)" userId="7a5f1df4-0dd0-4c9e-a72f-a035cf318af6" providerId="ADAL" clId="{AAA37DE2-93D3-44F8-BE87-C19EC6771CD3}" dt="2023-09-21T08:01:07.291" v="12056" actId="20577"/>
          <ac:spMkLst>
            <pc:docMk/>
            <pc:sldMk cId="286829603" sldId="2339"/>
            <ac:spMk id="22" creationId="{69BA734D-73D9-0E42-16FF-9A16E9A0AA7F}"/>
          </ac:spMkLst>
        </pc:spChg>
        <pc:spChg chg="mod">
          <ac:chgData name="van Leeuwen  Sara (VPPL)" userId="7a5f1df4-0dd0-4c9e-a72f-a035cf318af6" providerId="ADAL" clId="{AAA37DE2-93D3-44F8-BE87-C19EC6771CD3}" dt="2023-09-21T07:58:43.476" v="4240" actId="947"/>
          <ac:spMkLst>
            <pc:docMk/>
            <pc:sldMk cId="286829603" sldId="2339"/>
            <ac:spMk id="24" creationId="{04289C6E-1199-0B99-D163-4CD3620BC9E0}"/>
          </ac:spMkLst>
        </pc:spChg>
        <pc:spChg chg="mod">
          <ac:chgData name="van Leeuwen  Sara (VPPL)" userId="7a5f1df4-0dd0-4c9e-a72f-a035cf318af6" providerId="ADAL" clId="{AAA37DE2-93D3-44F8-BE87-C19EC6771CD3}" dt="2023-09-21T07:58:43.460" v="4212" actId="947"/>
          <ac:spMkLst>
            <pc:docMk/>
            <pc:sldMk cId="286829603" sldId="2339"/>
            <ac:spMk id="27" creationId="{00000000-0000-0000-0000-000000000000}"/>
          </ac:spMkLst>
        </pc:spChg>
        <pc:spChg chg="mod">
          <ac:chgData name="van Leeuwen  Sara (VPPL)" userId="7a5f1df4-0dd0-4c9e-a72f-a035cf318af6" providerId="ADAL" clId="{AAA37DE2-93D3-44F8-BE87-C19EC6771CD3}" dt="2023-09-21T07:58:43.460" v="4214" actId="947"/>
          <ac:spMkLst>
            <pc:docMk/>
            <pc:sldMk cId="286829603" sldId="2339"/>
            <ac:spMk id="28" creationId="{00000000-0000-0000-0000-000000000000}"/>
          </ac:spMkLst>
        </pc:spChg>
        <pc:spChg chg="mod">
          <ac:chgData name="van Leeuwen  Sara (VPPL)" userId="7a5f1df4-0dd0-4c9e-a72f-a035cf318af6" providerId="ADAL" clId="{AAA37DE2-93D3-44F8-BE87-C19EC6771CD3}" dt="2023-09-21T08:01:07.291" v="12062" actId="20577"/>
          <ac:spMkLst>
            <pc:docMk/>
            <pc:sldMk cId="286829603" sldId="2339"/>
            <ac:spMk id="31" creationId="{90D245A3-6547-A8A7-9132-8A0860FFBF90}"/>
          </ac:spMkLst>
        </pc:spChg>
        <pc:spChg chg="mod">
          <ac:chgData name="van Leeuwen  Sara (VPPL)" userId="7a5f1df4-0dd0-4c9e-a72f-a035cf318af6" providerId="ADAL" clId="{AAA37DE2-93D3-44F8-BE87-C19EC6771CD3}" dt="2023-09-21T08:01:07.275" v="11999" actId="790"/>
          <ac:spMkLst>
            <pc:docMk/>
            <pc:sldMk cId="286829603" sldId="2339"/>
            <ac:spMk id="32" creationId="{D75AFB06-C0D5-C44A-AFA0-9276A7192873}"/>
          </ac:spMkLst>
        </pc:spChg>
        <pc:spChg chg="mod">
          <ac:chgData name="van Leeuwen  Sara (VPPL)" userId="7a5f1df4-0dd0-4c9e-a72f-a035cf318af6" providerId="ADAL" clId="{AAA37DE2-93D3-44F8-BE87-C19EC6771CD3}" dt="2023-09-21T07:58:43.476" v="4246" actId="947"/>
          <ac:spMkLst>
            <pc:docMk/>
            <pc:sldMk cId="286829603" sldId="2339"/>
            <ac:spMk id="33" creationId="{282627BB-A3F0-27F3-9756-6AFD3AD87099}"/>
          </ac:spMkLst>
        </pc:spChg>
        <pc:spChg chg="mod">
          <ac:chgData name="van Leeuwen  Sara (VPPL)" userId="7a5f1df4-0dd0-4c9e-a72f-a035cf318af6" providerId="ADAL" clId="{AAA37DE2-93D3-44F8-BE87-C19EC6771CD3}" dt="2023-09-21T07:58:43.476" v="4248" actId="947"/>
          <ac:spMkLst>
            <pc:docMk/>
            <pc:sldMk cId="286829603" sldId="2339"/>
            <ac:spMk id="34" creationId="{29B16004-A9CF-6D1F-3737-102F15FFE287}"/>
          </ac:spMkLst>
        </pc:spChg>
        <pc:spChg chg="mod">
          <ac:chgData name="van Leeuwen  Sara (VPPL)" userId="7a5f1df4-0dd0-4c9e-a72f-a035cf318af6" providerId="ADAL" clId="{AAA37DE2-93D3-44F8-BE87-C19EC6771CD3}" dt="2023-09-21T07:58:43.476" v="4250" actId="947"/>
          <ac:spMkLst>
            <pc:docMk/>
            <pc:sldMk cId="286829603" sldId="2339"/>
            <ac:spMk id="35" creationId="{25414BE8-4E73-27A2-3FFA-CFBF3946F190}"/>
          </ac:spMkLst>
        </pc:spChg>
        <pc:spChg chg="mod">
          <ac:chgData name="van Leeuwen  Sara (VPPL)" userId="7a5f1df4-0dd0-4c9e-a72f-a035cf318af6" providerId="ADAL" clId="{AAA37DE2-93D3-44F8-BE87-C19EC6771CD3}" dt="2023-09-21T08:01:07.291" v="12024" actId="20577"/>
          <ac:spMkLst>
            <pc:docMk/>
            <pc:sldMk cId="286829603" sldId="2339"/>
            <ac:spMk id="37" creationId="{00000000-0000-0000-0000-000000000000}"/>
          </ac:spMkLst>
        </pc:spChg>
        <pc:spChg chg="mod">
          <ac:chgData name="van Leeuwen  Sara (VPPL)" userId="7a5f1df4-0dd0-4c9e-a72f-a035cf318af6" providerId="ADAL" clId="{AAA37DE2-93D3-44F8-BE87-C19EC6771CD3}" dt="2023-09-21T07:58:43.460" v="4208" actId="947"/>
          <ac:spMkLst>
            <pc:docMk/>
            <pc:sldMk cId="286829603" sldId="2339"/>
            <ac:spMk id="38" creationId="{00000000-0000-0000-0000-000000000000}"/>
          </ac:spMkLst>
        </pc:spChg>
        <pc:spChg chg="mod">
          <ac:chgData name="van Leeuwen  Sara (VPPL)" userId="7a5f1df4-0dd0-4c9e-a72f-a035cf318af6" providerId="ADAL" clId="{AAA37DE2-93D3-44F8-BE87-C19EC6771CD3}" dt="2023-09-21T08:01:07.275" v="12006" actId="20577"/>
          <ac:spMkLst>
            <pc:docMk/>
            <pc:sldMk cId="286829603" sldId="2339"/>
            <ac:spMk id="47" creationId="{00000000-0000-0000-0000-000000000000}"/>
          </ac:spMkLst>
        </pc:spChg>
        <pc:spChg chg="mod">
          <ac:chgData name="van Leeuwen  Sara (VPPL)" userId="7a5f1df4-0dd0-4c9e-a72f-a035cf318af6" providerId="ADAL" clId="{AAA37DE2-93D3-44F8-BE87-C19EC6771CD3}" dt="2023-09-21T08:01:07.275" v="12017" actId="790"/>
          <ac:spMkLst>
            <pc:docMk/>
            <pc:sldMk cId="286829603" sldId="2339"/>
            <ac:spMk id="48" creationId="{00000000-0000-0000-0000-000000000000}"/>
          </ac:spMkLst>
        </pc:spChg>
        <pc:spChg chg="mod">
          <ac:chgData name="van Leeuwen  Sara (VPPL)" userId="7a5f1df4-0dd0-4c9e-a72f-a035cf318af6" providerId="ADAL" clId="{AAA37DE2-93D3-44F8-BE87-C19EC6771CD3}" dt="2023-09-21T08:01:07.291" v="12019" actId="790"/>
          <ac:spMkLst>
            <pc:docMk/>
            <pc:sldMk cId="286829603" sldId="2339"/>
            <ac:spMk id="50" creationId="{00000000-0000-0000-0000-000000000000}"/>
          </ac:spMkLst>
        </pc:spChg>
        <pc:spChg chg="mod">
          <ac:chgData name="van Leeuwen  Sara (VPPL)" userId="7a5f1df4-0dd0-4c9e-a72f-a035cf318af6" providerId="ADAL" clId="{AAA37DE2-93D3-44F8-BE87-C19EC6771CD3}" dt="2023-09-21T08:01:07.275" v="12014" actId="20577"/>
          <ac:spMkLst>
            <pc:docMk/>
            <pc:sldMk cId="286829603" sldId="2339"/>
            <ac:spMk id="51" creationId="{00000000-0000-0000-0000-000000000000}"/>
          </ac:spMkLst>
        </pc:spChg>
        <pc:graphicFrameChg chg="mod">
          <ac:chgData name="van Leeuwen  Sara (VPPL)" userId="7a5f1df4-0dd0-4c9e-a72f-a035cf318af6" providerId="ADAL" clId="{AAA37DE2-93D3-44F8-BE87-C19EC6771CD3}" dt="2023-09-21T08:01:08.376" v="15450"/>
          <ac:graphicFrameMkLst>
            <pc:docMk/>
            <pc:sldMk cId="286829603" sldId="2339"/>
            <ac:graphicFrameMk id="5" creationId="{3C5E4746-44C5-4447-25BC-7C75BCB67ADF}"/>
          </ac:graphicFrameMkLst>
        </pc:graphicFrameChg>
      </pc:sldChg>
      <pc:sldChg chg="addSp delSp modSp add del mod modNotes">
        <pc:chgData name="van Leeuwen  Sara (VPPL)" userId="7a5f1df4-0dd0-4c9e-a72f-a035cf318af6" providerId="ADAL" clId="{AAA37DE2-93D3-44F8-BE87-C19EC6771CD3}" dt="2023-09-21T09:10:14.981" v="17069" actId="47"/>
        <pc:sldMkLst>
          <pc:docMk/>
          <pc:sldMk cId="3031542448" sldId="2347"/>
        </pc:sldMkLst>
        <pc:spChg chg="mod">
          <ac:chgData name="van Leeuwen  Sara (VPPL)" userId="7a5f1df4-0dd0-4c9e-a72f-a035cf318af6" providerId="ADAL" clId="{AAA37DE2-93D3-44F8-BE87-C19EC6771CD3}" dt="2023-09-21T08:01:08.015" v="14797" actId="948"/>
          <ac:spMkLst>
            <pc:docMk/>
            <pc:sldMk cId="3031542448" sldId="2347"/>
            <ac:spMk id="2" creationId="{B6F42680-8180-3F42-9274-11501EB13FF7}"/>
          </ac:spMkLst>
        </pc:spChg>
        <pc:spChg chg="add del mod modVis">
          <ac:chgData name="van Leeuwen  Sara (VPPL)" userId="7a5f1df4-0dd0-4c9e-a72f-a035cf318af6" providerId="ADAL" clId="{AAA37DE2-93D3-44F8-BE87-C19EC6771CD3}" dt="2023-09-21T08:01:08.141" v="15310" actId="478"/>
          <ac:spMkLst>
            <pc:docMk/>
            <pc:sldMk cId="3031542448" sldId="2347"/>
            <ac:spMk id="3" creationId="{834DF131-681A-3CA9-8581-D3425A296894}"/>
          </ac:spMkLst>
        </pc:spChg>
        <pc:spChg chg="mod">
          <ac:chgData name="van Leeuwen  Sara (VPPL)" userId="7a5f1df4-0dd0-4c9e-a72f-a035cf318af6" providerId="ADAL" clId="{AAA37DE2-93D3-44F8-BE87-C19EC6771CD3}" dt="2023-09-21T07:58:43.279" v="4096" actId="947"/>
          <ac:spMkLst>
            <pc:docMk/>
            <pc:sldMk cId="3031542448" sldId="2347"/>
            <ac:spMk id="4" creationId="{EBAB4C94-6F8B-8941-836F-612B4190552C}"/>
          </ac:spMkLst>
        </pc:spChg>
        <pc:spChg chg="mod">
          <ac:chgData name="van Leeuwen  Sara (VPPL)" userId="7a5f1df4-0dd0-4c9e-a72f-a035cf318af6" providerId="ADAL" clId="{AAA37DE2-93D3-44F8-BE87-C19EC6771CD3}" dt="2023-09-21T07:58:43.286" v="4100" actId="947"/>
          <ac:spMkLst>
            <pc:docMk/>
            <pc:sldMk cId="3031542448" sldId="2347"/>
            <ac:spMk id="6" creationId="{55BF4CB2-5EDC-9047-89E8-16FE54A65069}"/>
          </ac:spMkLst>
        </pc:spChg>
        <pc:spChg chg="mod">
          <ac:chgData name="van Leeuwen  Sara (VPPL)" userId="7a5f1df4-0dd0-4c9e-a72f-a035cf318af6" providerId="ADAL" clId="{AAA37DE2-93D3-44F8-BE87-C19EC6771CD3}" dt="2023-09-21T07:58:43.302" v="4102" actId="947"/>
          <ac:spMkLst>
            <pc:docMk/>
            <pc:sldMk cId="3031542448" sldId="2347"/>
            <ac:spMk id="7" creationId="{00000000-0000-0000-0000-000000000000}"/>
          </ac:spMkLst>
        </pc:spChg>
        <pc:spChg chg="mod">
          <ac:chgData name="van Leeuwen  Sara (VPPL)" userId="7a5f1df4-0dd0-4c9e-a72f-a035cf318af6" providerId="ADAL" clId="{AAA37DE2-93D3-44F8-BE87-C19EC6771CD3}" dt="2023-09-21T08:01:07.244" v="11915" actId="790"/>
          <ac:spMkLst>
            <pc:docMk/>
            <pc:sldMk cId="3031542448" sldId="2347"/>
            <ac:spMk id="9" creationId="{D75AFB06-C0D5-C44A-AFA0-9276A7192873}"/>
          </ac:spMkLst>
        </pc:spChg>
        <pc:spChg chg="mod">
          <ac:chgData name="van Leeuwen  Sara (VPPL)" userId="7a5f1df4-0dd0-4c9e-a72f-a035cf318af6" providerId="ADAL" clId="{AAA37DE2-93D3-44F8-BE87-C19EC6771CD3}" dt="2023-09-21T07:58:43.302" v="4106" actId="947"/>
          <ac:spMkLst>
            <pc:docMk/>
            <pc:sldMk cId="3031542448" sldId="2347"/>
            <ac:spMk id="10" creationId="{00000000-0000-0000-0000-000000000000}"/>
          </ac:spMkLst>
        </pc:spChg>
        <pc:spChg chg="mod">
          <ac:chgData name="van Leeuwen  Sara (VPPL)" userId="7a5f1df4-0dd0-4c9e-a72f-a035cf318af6" providerId="ADAL" clId="{AAA37DE2-93D3-44F8-BE87-C19EC6771CD3}" dt="2023-09-21T07:58:43.302" v="4104" actId="947"/>
          <ac:spMkLst>
            <pc:docMk/>
            <pc:sldMk cId="3031542448" sldId="2347"/>
            <ac:spMk id="11" creationId="{00000000-0000-0000-0000-000000000000}"/>
          </ac:spMkLst>
        </pc:spChg>
        <pc:spChg chg="mod">
          <ac:chgData name="van Leeuwen  Sara (VPPL)" userId="7a5f1df4-0dd0-4c9e-a72f-a035cf318af6" providerId="ADAL" clId="{AAA37DE2-93D3-44F8-BE87-C19EC6771CD3}" dt="2023-09-21T07:58:43.302" v="4108" actId="947"/>
          <ac:spMkLst>
            <pc:docMk/>
            <pc:sldMk cId="3031542448" sldId="2347"/>
            <ac:spMk id="13" creationId="{02DD59B6-D37A-45CE-8D3E-6528E6FC6B84}"/>
          </ac:spMkLst>
        </pc:spChg>
        <pc:graphicFrameChg chg="mod">
          <ac:chgData name="van Leeuwen  Sara (VPPL)" userId="7a5f1df4-0dd0-4c9e-a72f-a035cf318af6" providerId="ADAL" clId="{AAA37DE2-93D3-44F8-BE87-C19EC6771CD3}" dt="2023-09-21T08:01:08.360" v="15440"/>
          <ac:graphicFrameMkLst>
            <pc:docMk/>
            <pc:sldMk cId="3031542448" sldId="2347"/>
            <ac:graphicFrameMk id="5" creationId="{614A9DA2-E9C8-8BD2-077E-5D2F54FFD561}"/>
          </ac:graphicFrameMkLst>
        </pc:graphicFrameChg>
      </pc:sldChg>
      <pc:sldChg chg="addSp delSp modSp mod modNotes">
        <pc:chgData name="van Leeuwen  Sara (VPPL)" userId="7a5f1df4-0dd0-4c9e-a72f-a035cf318af6" providerId="ADAL" clId="{AAA37DE2-93D3-44F8-BE87-C19EC6771CD3}" dt="2023-09-21T08:01:08.297" v="15410"/>
        <pc:sldMkLst>
          <pc:docMk/>
          <pc:sldMk cId="210407677" sldId="2350"/>
        </pc:sldMkLst>
        <pc:spChg chg="mod">
          <ac:chgData name="van Leeuwen  Sara (VPPL)" userId="7a5f1df4-0dd0-4c9e-a72f-a035cf318af6" providerId="ADAL" clId="{AAA37DE2-93D3-44F8-BE87-C19EC6771CD3}" dt="2023-09-21T08:01:07.606" v="13255" actId="948"/>
          <ac:spMkLst>
            <pc:docMk/>
            <pc:sldMk cId="210407677" sldId="2350"/>
            <ac:spMk id="2" creationId="{52558334-A345-4D81-9F4E-D052229C97C2}"/>
          </ac:spMkLst>
        </pc:spChg>
        <pc:spChg chg="add del mod modVis">
          <ac:chgData name="van Leeuwen  Sara (VPPL)" userId="7a5f1df4-0dd0-4c9e-a72f-a035cf318af6" providerId="ADAL" clId="{AAA37DE2-93D3-44F8-BE87-C19EC6771CD3}" dt="2023-09-21T08:01:08.115" v="15221" actId="478"/>
          <ac:spMkLst>
            <pc:docMk/>
            <pc:sldMk cId="210407677" sldId="2350"/>
            <ac:spMk id="3" creationId="{D8AF1229-626C-3087-5021-C201244136D0}"/>
          </ac:spMkLst>
        </pc:spChg>
        <pc:spChg chg="mod">
          <ac:chgData name="van Leeuwen  Sara (VPPL)" userId="7a5f1df4-0dd0-4c9e-a72f-a035cf318af6" providerId="ADAL" clId="{AAA37DE2-93D3-44F8-BE87-C19EC6771CD3}" dt="2023-09-21T07:58:43.934" v="4756" actId="947"/>
          <ac:spMkLst>
            <pc:docMk/>
            <pc:sldMk cId="210407677" sldId="2350"/>
            <ac:spMk id="5" creationId="{20CBB855-862A-446C-A75E-1B38AEA6B736}"/>
          </ac:spMkLst>
        </pc:spChg>
        <pc:graphicFrameChg chg="mod">
          <ac:chgData name="van Leeuwen  Sara (VPPL)" userId="7a5f1df4-0dd0-4c9e-a72f-a035cf318af6" providerId="ADAL" clId="{AAA37DE2-93D3-44F8-BE87-C19EC6771CD3}" dt="2023-09-21T08:01:08.297" v="15410"/>
          <ac:graphicFrameMkLst>
            <pc:docMk/>
            <pc:sldMk cId="210407677" sldId="2350"/>
            <ac:graphicFrameMk id="4" creationId="{1FE7B902-01C5-279F-716C-D4818AF88DEB}"/>
          </ac:graphicFrameMkLst>
        </pc:graphicFrameChg>
      </pc:sldChg>
      <pc:sldChg chg="addSp delSp modSp mod ord modNotes">
        <pc:chgData name="van Leeuwen  Sara (VPPL)" userId="7a5f1df4-0dd0-4c9e-a72f-a035cf318af6" providerId="ADAL" clId="{AAA37DE2-93D3-44F8-BE87-C19EC6771CD3}" dt="2023-09-21T08:01:08.392" v="15454"/>
        <pc:sldMkLst>
          <pc:docMk/>
          <pc:sldMk cId="1080794082" sldId="2363"/>
        </pc:sldMkLst>
        <pc:spChg chg="mod">
          <ac:chgData name="van Leeuwen  Sara (VPPL)" userId="7a5f1df4-0dd0-4c9e-a72f-a035cf318af6" providerId="ADAL" clId="{AAA37DE2-93D3-44F8-BE87-C19EC6771CD3}" dt="2023-09-21T08:01:08.062" v="15028" actId="948"/>
          <ac:spMkLst>
            <pc:docMk/>
            <pc:sldMk cId="1080794082" sldId="2363"/>
            <ac:spMk id="2" creationId="{00000000-0000-0000-0000-000000000000}"/>
          </ac:spMkLst>
        </pc:spChg>
        <pc:spChg chg="add del mod modVis">
          <ac:chgData name="van Leeuwen  Sara (VPPL)" userId="7a5f1df4-0dd0-4c9e-a72f-a035cf318af6" providerId="ADAL" clId="{AAA37DE2-93D3-44F8-BE87-C19EC6771CD3}" dt="2023-09-20T14:25:25.702" v="3035"/>
          <ac:spMkLst>
            <pc:docMk/>
            <pc:sldMk cId="1080794082" sldId="2363"/>
            <ac:spMk id="3" creationId="{A4BD7F28-ACB6-9C1E-C8A1-8B2F92EC783F}"/>
          </ac:spMkLst>
        </pc:spChg>
        <pc:spChg chg="add del mod modVis">
          <ac:chgData name="van Leeuwen  Sara (VPPL)" userId="7a5f1df4-0dd0-4c9e-a72f-a035cf318af6" providerId="ADAL" clId="{AAA37DE2-93D3-44F8-BE87-C19EC6771CD3}" dt="2023-09-21T08:01:08.141" v="15323" actId="478"/>
          <ac:spMkLst>
            <pc:docMk/>
            <pc:sldMk cId="1080794082" sldId="2363"/>
            <ac:spMk id="3" creationId="{E9B5CB8F-DECE-4F5D-EBEA-9AB2E4293926}"/>
          </ac:spMkLst>
        </pc:spChg>
        <pc:spChg chg="add del mod modVis">
          <ac:chgData name="van Leeuwen  Sara (VPPL)" userId="7a5f1df4-0dd0-4c9e-a72f-a035cf318af6" providerId="ADAL" clId="{AAA37DE2-93D3-44F8-BE87-C19EC6771CD3}" dt="2023-09-20T12:15:02.332" v="1266"/>
          <ac:spMkLst>
            <pc:docMk/>
            <pc:sldMk cId="1080794082" sldId="2363"/>
            <ac:spMk id="3" creationId="{ED6D12E4-92B2-C8C8-5B01-1D86ACD255D1}"/>
          </ac:spMkLst>
        </pc:spChg>
        <pc:spChg chg="mod">
          <ac:chgData name="van Leeuwen  Sara (VPPL)" userId="7a5f1df4-0dd0-4c9e-a72f-a035cf318af6" providerId="ADAL" clId="{AAA37DE2-93D3-44F8-BE87-C19EC6771CD3}" dt="2023-09-21T07:58:43.681" v="4514" actId="947"/>
          <ac:spMkLst>
            <pc:docMk/>
            <pc:sldMk cId="1080794082" sldId="2363"/>
            <ac:spMk id="4" creationId="{00000000-0000-0000-0000-000000000000}"/>
          </ac:spMkLst>
        </pc:spChg>
        <pc:spChg chg="mod">
          <ac:chgData name="van Leeuwen  Sara (VPPL)" userId="7a5f1df4-0dd0-4c9e-a72f-a035cf318af6" providerId="ADAL" clId="{AAA37DE2-93D3-44F8-BE87-C19EC6771CD3}" dt="2023-09-21T07:58:43.697" v="4518" actId="947"/>
          <ac:spMkLst>
            <pc:docMk/>
            <pc:sldMk cId="1080794082" sldId="2363"/>
            <ac:spMk id="6" creationId="{00000000-0000-0000-0000-000000000000}"/>
          </ac:spMkLst>
        </pc:spChg>
        <pc:spChg chg="add del mod modVis">
          <ac:chgData name="van Leeuwen  Sara (VPPL)" userId="7a5f1df4-0dd0-4c9e-a72f-a035cf318af6" providerId="ADAL" clId="{AAA37DE2-93D3-44F8-BE87-C19EC6771CD3}" dt="2023-09-20T12:15:06.071" v="1328"/>
          <ac:spMkLst>
            <pc:docMk/>
            <pc:sldMk cId="1080794082" sldId="2363"/>
            <ac:spMk id="7" creationId="{993902C3-834F-3BE3-D226-2141F2046AAC}"/>
          </ac:spMkLst>
        </pc:spChg>
        <pc:spChg chg="add del mod modVis">
          <ac:chgData name="van Leeuwen  Sara (VPPL)" userId="7a5f1df4-0dd0-4c9e-a72f-a035cf318af6" providerId="ADAL" clId="{AAA37DE2-93D3-44F8-BE87-C19EC6771CD3}" dt="2023-09-20T12:15:07.824" v="1381"/>
          <ac:spMkLst>
            <pc:docMk/>
            <pc:sldMk cId="1080794082" sldId="2363"/>
            <ac:spMk id="8" creationId="{C2D87820-554B-5143-BD58-56E859C877F8}"/>
          </ac:spMkLst>
        </pc:spChg>
        <pc:spChg chg="mod">
          <ac:chgData name="van Leeuwen  Sara (VPPL)" userId="7a5f1df4-0dd0-4c9e-a72f-a035cf318af6" providerId="ADAL" clId="{AAA37DE2-93D3-44F8-BE87-C19EC6771CD3}" dt="2023-09-21T07:58:43.697" v="4520" actId="947"/>
          <ac:spMkLst>
            <pc:docMk/>
            <pc:sldMk cId="1080794082" sldId="2363"/>
            <ac:spMk id="9" creationId="{DAD87841-70CF-4F6D-B9E5-42EAA3A807C7}"/>
          </ac:spMkLst>
        </pc:spChg>
        <pc:spChg chg="mod">
          <ac:chgData name="van Leeuwen  Sara (VPPL)" userId="7a5f1df4-0dd0-4c9e-a72f-a035cf318af6" providerId="ADAL" clId="{AAA37DE2-93D3-44F8-BE87-C19EC6771CD3}" dt="2023-09-21T08:01:07.323" v="12333" actId="790"/>
          <ac:spMkLst>
            <pc:docMk/>
            <pc:sldMk cId="1080794082" sldId="2363"/>
            <ac:spMk id="12" creationId="{D75AFB06-C0D5-C44A-AFA0-9276A7192873}"/>
          </ac:spMkLst>
        </pc:spChg>
        <pc:spChg chg="mod">
          <ac:chgData name="van Leeuwen  Sara (VPPL)" userId="7a5f1df4-0dd0-4c9e-a72f-a035cf318af6" providerId="ADAL" clId="{AAA37DE2-93D3-44F8-BE87-C19EC6771CD3}" dt="2023-09-21T08:01:07.323" v="12339" actId="790"/>
          <ac:spMkLst>
            <pc:docMk/>
            <pc:sldMk cId="1080794082" sldId="2363"/>
            <ac:spMk id="19" creationId="{A0AA57D8-6525-B82E-1C62-1D086A2C61F0}"/>
          </ac:spMkLst>
        </pc:spChg>
        <pc:spChg chg="mod">
          <ac:chgData name="van Leeuwen  Sara (VPPL)" userId="7a5f1df4-0dd0-4c9e-a72f-a035cf318af6" providerId="ADAL" clId="{AAA37DE2-93D3-44F8-BE87-C19EC6771CD3}" dt="2023-09-21T08:01:07.323" v="12341" actId="790"/>
          <ac:spMkLst>
            <pc:docMk/>
            <pc:sldMk cId="1080794082" sldId="2363"/>
            <ac:spMk id="20" creationId="{CF7B0E3C-915D-6129-4612-FFB31E8E9DE1}"/>
          </ac:spMkLst>
        </pc:spChg>
        <pc:spChg chg="mod">
          <ac:chgData name="van Leeuwen  Sara (VPPL)" userId="7a5f1df4-0dd0-4c9e-a72f-a035cf318af6" providerId="ADAL" clId="{AAA37DE2-93D3-44F8-BE87-C19EC6771CD3}" dt="2023-09-21T08:01:07.323" v="12343" actId="790"/>
          <ac:spMkLst>
            <pc:docMk/>
            <pc:sldMk cId="1080794082" sldId="2363"/>
            <ac:spMk id="24" creationId="{75D38813-0E3F-5E16-F430-0CD6F710989C}"/>
          </ac:spMkLst>
        </pc:spChg>
        <pc:spChg chg="mod">
          <ac:chgData name="van Leeuwen  Sara (VPPL)" userId="7a5f1df4-0dd0-4c9e-a72f-a035cf318af6" providerId="ADAL" clId="{AAA37DE2-93D3-44F8-BE87-C19EC6771CD3}" dt="2023-09-21T08:01:07.338" v="12345" actId="790"/>
          <ac:spMkLst>
            <pc:docMk/>
            <pc:sldMk cId="1080794082" sldId="2363"/>
            <ac:spMk id="28" creationId="{78A878A6-2955-34DC-8D75-4E2128930BD8}"/>
          </ac:spMkLst>
        </pc:spChg>
        <pc:graphicFrameChg chg="mod">
          <ac:chgData name="van Leeuwen  Sara (VPPL)" userId="7a5f1df4-0dd0-4c9e-a72f-a035cf318af6" providerId="ADAL" clId="{AAA37DE2-93D3-44F8-BE87-C19EC6771CD3}" dt="2023-09-21T08:01:08.392" v="15454"/>
          <ac:graphicFrameMkLst>
            <pc:docMk/>
            <pc:sldMk cId="1080794082" sldId="2363"/>
            <ac:graphicFrameMk id="5" creationId="{6CD3BF2A-4B05-1D82-BE24-6EDADE277B81}"/>
          </ac:graphicFrameMkLst>
        </pc:graphicFrameChg>
      </pc:sldChg>
      <pc:sldChg chg="addSp delSp modSp mod modNotes">
        <pc:chgData name="van Leeuwen  Sara (VPPL)" userId="7a5f1df4-0dd0-4c9e-a72f-a035cf318af6" providerId="ADAL" clId="{AAA37DE2-93D3-44F8-BE87-C19EC6771CD3}" dt="2023-09-21T08:01:08.297" v="15412"/>
        <pc:sldMkLst>
          <pc:docMk/>
          <pc:sldMk cId="1900787555" sldId="2369"/>
        </pc:sldMkLst>
        <pc:spChg chg="mod">
          <ac:chgData name="van Leeuwen  Sara (VPPL)" userId="7a5f1df4-0dd0-4c9e-a72f-a035cf318af6" providerId="ADAL" clId="{AAA37DE2-93D3-44F8-BE87-C19EC6771CD3}" dt="2023-09-21T08:01:07.606" v="13291" actId="948"/>
          <ac:spMkLst>
            <pc:docMk/>
            <pc:sldMk cId="1900787555" sldId="2369"/>
            <ac:spMk id="2" creationId="{FC65B3EF-08EF-432C-BEBF-CB2B499FB533}"/>
          </ac:spMkLst>
        </pc:spChg>
        <pc:spChg chg="mod">
          <ac:chgData name="van Leeuwen  Sara (VPPL)" userId="7a5f1df4-0dd0-4c9e-a72f-a035cf318af6" providerId="ADAL" clId="{AAA37DE2-93D3-44F8-BE87-C19EC6771CD3}" dt="2023-09-21T07:58:43.902" v="4744" actId="947"/>
          <ac:spMkLst>
            <pc:docMk/>
            <pc:sldMk cId="1900787555" sldId="2369"/>
            <ac:spMk id="3" creationId="{D248A836-D270-48AC-93BC-E789F2E8E734}"/>
          </ac:spMkLst>
        </pc:spChg>
        <pc:spChg chg="mod">
          <ac:chgData name="van Leeuwen  Sara (VPPL)" userId="7a5f1df4-0dd0-4c9e-a72f-a035cf318af6" providerId="ADAL" clId="{AAA37DE2-93D3-44F8-BE87-C19EC6771CD3}" dt="2023-09-21T07:58:43.902" v="4746" actId="947"/>
          <ac:spMkLst>
            <pc:docMk/>
            <pc:sldMk cId="1900787555" sldId="2369"/>
            <ac:spMk id="4" creationId="{305442D0-14ED-4C2A-A91B-14866EB77D60}"/>
          </ac:spMkLst>
        </pc:spChg>
        <pc:spChg chg="mod">
          <ac:chgData name="van Leeuwen  Sara (VPPL)" userId="7a5f1df4-0dd0-4c9e-a72f-a035cf318af6" providerId="ADAL" clId="{AAA37DE2-93D3-44F8-BE87-C19EC6771CD3}" dt="2023-09-21T08:01:07.385" v="12565" actId="790"/>
          <ac:spMkLst>
            <pc:docMk/>
            <pc:sldMk cId="1900787555" sldId="2369"/>
            <ac:spMk id="5" creationId="{B057CD9C-7E82-4EE5-8D4A-CF1F831FF9E4}"/>
          </ac:spMkLst>
        </pc:spChg>
        <pc:spChg chg="mod">
          <ac:chgData name="van Leeuwen  Sara (VPPL)" userId="7a5f1df4-0dd0-4c9e-a72f-a035cf318af6" providerId="ADAL" clId="{AAA37DE2-93D3-44F8-BE87-C19EC6771CD3}" dt="2023-09-21T07:58:43.902" v="4750" actId="947"/>
          <ac:spMkLst>
            <pc:docMk/>
            <pc:sldMk cId="1900787555" sldId="2369"/>
            <ac:spMk id="6" creationId="{727CB4E9-0DB2-4603-A8AD-72263838A1CA}"/>
          </ac:spMkLst>
        </pc:spChg>
        <pc:spChg chg="add del mod modVis">
          <ac:chgData name="van Leeuwen  Sara (VPPL)" userId="7a5f1df4-0dd0-4c9e-a72f-a035cf318af6" providerId="ADAL" clId="{AAA37DE2-93D3-44F8-BE87-C19EC6771CD3}" dt="2023-09-21T08:01:08.115" v="15223" actId="478"/>
          <ac:spMkLst>
            <pc:docMk/>
            <pc:sldMk cId="1900787555" sldId="2369"/>
            <ac:spMk id="7" creationId="{836DFA5D-D541-C211-53C2-54D067B80DF4}"/>
          </ac:spMkLst>
        </pc:spChg>
        <pc:spChg chg="add del mod modVis">
          <ac:chgData name="van Leeuwen  Sara (VPPL)" userId="7a5f1df4-0dd0-4c9e-a72f-a035cf318af6" providerId="ADAL" clId="{AAA37DE2-93D3-44F8-BE87-C19EC6771CD3}" dt="2023-09-20T13:46:47.688" v="1903"/>
          <ac:spMkLst>
            <pc:docMk/>
            <pc:sldMk cId="1900787555" sldId="2369"/>
            <ac:spMk id="7" creationId="{9BEBEFA3-8475-C420-CC19-124932FE8B11}"/>
          </ac:spMkLst>
        </pc:spChg>
        <pc:spChg chg="mod">
          <ac:chgData name="van Leeuwen  Sara (VPPL)" userId="7a5f1df4-0dd0-4c9e-a72f-a035cf318af6" providerId="ADAL" clId="{AAA37DE2-93D3-44F8-BE87-C19EC6771CD3}" dt="2023-09-21T07:58:43.902" v="4752" actId="947"/>
          <ac:spMkLst>
            <pc:docMk/>
            <pc:sldMk cId="1900787555" sldId="2369"/>
            <ac:spMk id="9" creationId="{8928BBA9-96FA-40B4-9815-860C77E3EC41}"/>
          </ac:spMkLst>
        </pc:spChg>
        <pc:spChg chg="add del mod modVis">
          <ac:chgData name="van Leeuwen  Sara (VPPL)" userId="7a5f1df4-0dd0-4c9e-a72f-a035cf318af6" providerId="ADAL" clId="{AAA37DE2-93D3-44F8-BE87-C19EC6771CD3}" dt="2023-09-20T13:46:50.114" v="1957"/>
          <ac:spMkLst>
            <pc:docMk/>
            <pc:sldMk cId="1900787555" sldId="2369"/>
            <ac:spMk id="11" creationId="{21F100CE-13E3-014C-82F7-00136F3D9441}"/>
          </ac:spMkLst>
        </pc:spChg>
        <pc:spChg chg="add del mod modVis">
          <ac:chgData name="van Leeuwen  Sara (VPPL)" userId="7a5f1df4-0dd0-4c9e-a72f-a035cf318af6" providerId="ADAL" clId="{AAA37DE2-93D3-44F8-BE87-C19EC6771CD3}" dt="2023-09-20T13:46:50.900" v="2003"/>
          <ac:spMkLst>
            <pc:docMk/>
            <pc:sldMk cId="1900787555" sldId="2369"/>
            <ac:spMk id="12" creationId="{2BB0246F-DF87-A281-2FFA-5D67DBC2BC00}"/>
          </ac:spMkLst>
        </pc:spChg>
        <pc:spChg chg="add del mod modVis">
          <ac:chgData name="van Leeuwen  Sara (VPPL)" userId="7a5f1df4-0dd0-4c9e-a72f-a035cf318af6" providerId="ADAL" clId="{AAA37DE2-93D3-44F8-BE87-C19EC6771CD3}" dt="2023-09-20T13:46:52.270" v="2049"/>
          <ac:spMkLst>
            <pc:docMk/>
            <pc:sldMk cId="1900787555" sldId="2369"/>
            <ac:spMk id="13" creationId="{AFB93E80-A6B2-28DD-B872-9B3CE3BD6CA4}"/>
          </ac:spMkLst>
        </pc:spChg>
        <pc:graphicFrameChg chg="mod">
          <ac:chgData name="van Leeuwen  Sara (VPPL)" userId="7a5f1df4-0dd0-4c9e-a72f-a035cf318af6" providerId="ADAL" clId="{AAA37DE2-93D3-44F8-BE87-C19EC6771CD3}" dt="2023-09-21T08:01:08.297" v="15412"/>
          <ac:graphicFrameMkLst>
            <pc:docMk/>
            <pc:sldMk cId="1900787555" sldId="2369"/>
            <ac:graphicFrameMk id="10" creationId="{5CEC7E4B-C0D8-8565-2536-A0AED66D6795}"/>
          </ac:graphicFrameMkLst>
        </pc:graphicFrameChg>
        <pc:picChg chg="mod">
          <ac:chgData name="van Leeuwen  Sara (VPPL)" userId="7a5f1df4-0dd0-4c9e-a72f-a035cf318af6" providerId="ADAL" clId="{AAA37DE2-93D3-44F8-BE87-C19EC6771CD3}" dt="2023-09-20T13:47:33.318" v="2052" actId="14826"/>
          <ac:picMkLst>
            <pc:docMk/>
            <pc:sldMk cId="1900787555" sldId="2369"/>
            <ac:picMk id="8" creationId="{A6706CC3-8947-4813-8BE0-CC4FF62607E1}"/>
          </ac:picMkLst>
        </pc:picChg>
      </pc:sldChg>
      <pc:sldChg chg="addSp delSp modSp mod modNotes">
        <pc:chgData name="van Leeuwen  Sara (VPPL)" userId="7a5f1df4-0dd0-4c9e-a72f-a035cf318af6" providerId="ADAL" clId="{AAA37DE2-93D3-44F8-BE87-C19EC6771CD3}" dt="2023-09-21T09:44:54.430" v="17422" actId="1037"/>
        <pc:sldMkLst>
          <pc:docMk/>
          <pc:sldMk cId="2700500582" sldId="2374"/>
        </pc:sldMkLst>
        <pc:spChg chg="mod">
          <ac:chgData name="van Leeuwen  Sara (VPPL)" userId="7a5f1df4-0dd0-4c9e-a72f-a035cf318af6" providerId="ADAL" clId="{AAA37DE2-93D3-44F8-BE87-C19EC6771CD3}" dt="2023-09-21T08:01:07.984" v="14587" actId="948"/>
          <ac:spMkLst>
            <pc:docMk/>
            <pc:sldMk cId="2700500582" sldId="2374"/>
            <ac:spMk id="2" creationId="{00000000-0000-0000-0000-000000000000}"/>
          </ac:spMkLst>
        </pc:spChg>
        <pc:spChg chg="mod">
          <ac:chgData name="van Leeuwen  Sara (VPPL)" userId="7a5f1df4-0dd0-4c9e-a72f-a035cf318af6" providerId="ADAL" clId="{AAA37DE2-93D3-44F8-BE87-C19EC6771CD3}" dt="2023-09-21T09:44:54.430" v="17422" actId="1037"/>
          <ac:spMkLst>
            <pc:docMk/>
            <pc:sldMk cId="2700500582" sldId="2374"/>
            <ac:spMk id="3" creationId="{7A042853-0D90-4A81-96A2-3E339984207D}"/>
          </ac:spMkLst>
        </pc:spChg>
        <pc:spChg chg="mod">
          <ac:chgData name="van Leeuwen  Sara (VPPL)" userId="7a5f1df4-0dd0-4c9e-a72f-a035cf318af6" providerId="ADAL" clId="{AAA37DE2-93D3-44F8-BE87-C19EC6771CD3}" dt="2023-09-21T07:58:43.145" v="3948" actId="947"/>
          <ac:spMkLst>
            <pc:docMk/>
            <pc:sldMk cId="2700500582" sldId="2374"/>
            <ac:spMk id="4" creationId="{00000000-0000-0000-0000-000000000000}"/>
          </ac:spMkLst>
        </pc:spChg>
        <pc:spChg chg="add del mod modVis">
          <ac:chgData name="van Leeuwen  Sara (VPPL)" userId="7a5f1df4-0dd0-4c9e-a72f-a035cf318af6" providerId="ADAL" clId="{AAA37DE2-93D3-44F8-BE87-C19EC6771CD3}" dt="2023-09-21T08:01:08.141" v="15300" actId="478"/>
          <ac:spMkLst>
            <pc:docMk/>
            <pc:sldMk cId="2700500582" sldId="2374"/>
            <ac:spMk id="5" creationId="{01125ECF-7A55-B16B-9446-3B00CCD2979B}"/>
          </ac:spMkLst>
        </pc:spChg>
        <pc:spChg chg="mod">
          <ac:chgData name="van Leeuwen  Sara (VPPL)" userId="7a5f1df4-0dd0-4c9e-a72f-a035cf318af6" providerId="ADAL" clId="{AAA37DE2-93D3-44F8-BE87-C19EC6771CD3}" dt="2023-09-21T07:58:43.145" v="3952" actId="947"/>
          <ac:spMkLst>
            <pc:docMk/>
            <pc:sldMk cId="2700500582" sldId="2374"/>
            <ac:spMk id="6" creationId="{00000000-0000-0000-0000-000000000000}"/>
          </ac:spMkLst>
        </pc:spChg>
        <pc:spChg chg="mod">
          <ac:chgData name="van Leeuwen  Sara (VPPL)" userId="7a5f1df4-0dd0-4c9e-a72f-a035cf318af6" providerId="ADAL" clId="{AAA37DE2-93D3-44F8-BE87-C19EC6771CD3}" dt="2023-09-21T08:01:07.229" v="11767" actId="790"/>
          <ac:spMkLst>
            <pc:docMk/>
            <pc:sldMk cId="2700500582" sldId="2374"/>
            <ac:spMk id="8" creationId="{D75AFB06-C0D5-C44A-AFA0-9276A7192873}"/>
          </ac:spMkLst>
        </pc:spChg>
        <pc:spChg chg="mod">
          <ac:chgData name="van Leeuwen  Sara (VPPL)" userId="7a5f1df4-0dd0-4c9e-a72f-a035cf318af6" providerId="ADAL" clId="{AAA37DE2-93D3-44F8-BE87-C19EC6771CD3}" dt="2023-09-21T07:58:43.176" v="3992" actId="947"/>
          <ac:spMkLst>
            <pc:docMk/>
            <pc:sldMk cId="2700500582" sldId="2374"/>
            <ac:spMk id="9" creationId="{89A99E02-2595-4654-A914-9755D7AC0719}"/>
          </ac:spMkLst>
        </pc:spChg>
        <pc:spChg chg="mod">
          <ac:chgData name="van Leeuwen  Sara (VPPL)" userId="7a5f1df4-0dd0-4c9e-a72f-a035cf318af6" providerId="ADAL" clId="{AAA37DE2-93D3-44F8-BE87-C19EC6771CD3}" dt="2023-09-21T08:01:07.229" v="11762" actId="20577"/>
          <ac:spMkLst>
            <pc:docMk/>
            <pc:sldMk cId="2700500582" sldId="2374"/>
            <ac:spMk id="11" creationId="{5344F9C8-B127-4FF7-8C03-12CC8EFA99B9}"/>
          </ac:spMkLst>
        </pc:spChg>
        <pc:spChg chg="del">
          <ac:chgData name="van Leeuwen  Sara (VPPL)" userId="7a5f1df4-0dd0-4c9e-a72f-a035cf318af6" providerId="ADAL" clId="{AAA37DE2-93D3-44F8-BE87-C19EC6771CD3}" dt="2023-09-21T06:51:17.474" v="3207" actId="478"/>
          <ac:spMkLst>
            <pc:docMk/>
            <pc:sldMk cId="2700500582" sldId="2374"/>
            <ac:spMk id="13" creationId="{98D738A7-07A9-E3AD-32A3-73C8537729F5}"/>
          </ac:spMkLst>
        </pc:spChg>
        <pc:graphicFrameChg chg="mod">
          <ac:chgData name="van Leeuwen  Sara (VPPL)" userId="7a5f1df4-0dd0-4c9e-a72f-a035cf318af6" providerId="ADAL" clId="{AAA37DE2-93D3-44F8-BE87-C19EC6771CD3}" dt="2023-09-21T08:01:08.329" v="15430"/>
          <ac:graphicFrameMkLst>
            <pc:docMk/>
            <pc:sldMk cId="2700500582" sldId="2374"/>
            <ac:graphicFrameMk id="7" creationId="{D029420C-BACC-45F4-B59F-60328FEAACD1}"/>
          </ac:graphicFrameMkLst>
        </pc:graphicFrameChg>
        <pc:graphicFrameChg chg="modGraphic">
          <ac:chgData name="van Leeuwen  Sara (VPPL)" userId="7a5f1df4-0dd0-4c9e-a72f-a035cf318af6" providerId="ADAL" clId="{AAA37DE2-93D3-44F8-BE87-C19EC6771CD3}" dt="2023-09-21T07:58:43.176" v="3988" actId="947"/>
          <ac:graphicFrameMkLst>
            <pc:docMk/>
            <pc:sldMk cId="2700500582" sldId="2374"/>
            <ac:graphicFrameMk id="10" creationId="{9B7E8B9D-5F9A-4F11-B14F-FECAB6CF2579}"/>
          </ac:graphicFrameMkLst>
        </pc:graphicFrameChg>
      </pc:sldChg>
      <pc:sldChg chg="modSp mod modNotes">
        <pc:chgData name="van Leeuwen  Sara (VPPL)" userId="7a5f1df4-0dd0-4c9e-a72f-a035cf318af6" providerId="ADAL" clId="{AAA37DE2-93D3-44F8-BE87-C19EC6771CD3}" dt="2023-09-21T08:01:08.329" v="15426"/>
        <pc:sldMkLst>
          <pc:docMk/>
          <pc:sldMk cId="3233872304" sldId="2379"/>
        </pc:sldMkLst>
        <pc:spChg chg="mod">
          <ac:chgData name="van Leeuwen  Sara (VPPL)" userId="7a5f1df4-0dd0-4c9e-a72f-a035cf318af6" providerId="ADAL" clId="{AAA37DE2-93D3-44F8-BE87-C19EC6771CD3}" dt="2023-09-21T07:58:43.081" v="3874" actId="947"/>
          <ac:spMkLst>
            <pc:docMk/>
            <pc:sldMk cId="3233872304" sldId="2379"/>
            <ac:spMk id="4" creationId="{1C64F35D-60B1-47E8-8AA1-15FBD62E6694}"/>
          </ac:spMkLst>
        </pc:spChg>
        <pc:spChg chg="mod">
          <ac:chgData name="van Leeuwen  Sara (VPPL)" userId="7a5f1df4-0dd0-4c9e-a72f-a035cf318af6" providerId="ADAL" clId="{AAA37DE2-93D3-44F8-BE87-C19EC6771CD3}" dt="2023-09-21T07:58:43.065" v="3872" actId="947"/>
          <ac:spMkLst>
            <pc:docMk/>
            <pc:sldMk cId="3233872304" sldId="2379"/>
            <ac:spMk id="8" creationId="{AC1FB292-90C1-439C-8480-EB4116CF2374}"/>
          </ac:spMkLst>
        </pc:spChg>
        <pc:graphicFrameChg chg="mod">
          <ac:chgData name="van Leeuwen  Sara (VPPL)" userId="7a5f1df4-0dd0-4c9e-a72f-a035cf318af6" providerId="ADAL" clId="{AAA37DE2-93D3-44F8-BE87-C19EC6771CD3}" dt="2023-09-21T08:01:08.329" v="15426"/>
          <ac:graphicFrameMkLst>
            <pc:docMk/>
            <pc:sldMk cId="3233872304" sldId="2379"/>
            <ac:graphicFrameMk id="3" creationId="{0372FE01-FDAF-E163-444D-9DE29DB2312E}"/>
          </ac:graphicFrameMkLst>
        </pc:graphicFrameChg>
      </pc:sldChg>
      <pc:sldChg chg="del">
        <pc:chgData name="van Leeuwen  Sara (VPPL)" userId="7a5f1df4-0dd0-4c9e-a72f-a035cf318af6" providerId="ADAL" clId="{AAA37DE2-93D3-44F8-BE87-C19EC6771CD3}" dt="2023-09-21T06:49:05.294" v="3174" actId="47"/>
        <pc:sldMkLst>
          <pc:docMk/>
          <pc:sldMk cId="1734056380" sldId="2382"/>
        </pc:sldMkLst>
      </pc:sldChg>
      <pc:sldChg chg="addSp delSp modSp mod modNotes">
        <pc:chgData name="van Leeuwen  Sara (VPPL)" userId="7a5f1df4-0dd0-4c9e-a72f-a035cf318af6" providerId="ADAL" clId="{AAA37DE2-93D3-44F8-BE87-C19EC6771CD3}" dt="2023-09-21T09:45:08.301" v="17442" actId="1036"/>
        <pc:sldMkLst>
          <pc:docMk/>
          <pc:sldMk cId="1769867695" sldId="2392"/>
        </pc:sldMkLst>
        <pc:spChg chg="mod">
          <ac:chgData name="van Leeuwen  Sara (VPPL)" userId="7a5f1df4-0dd0-4c9e-a72f-a035cf318af6" providerId="ADAL" clId="{AAA37DE2-93D3-44F8-BE87-C19EC6771CD3}" dt="2023-09-21T08:01:07.984" v="14623" actId="948"/>
          <ac:spMkLst>
            <pc:docMk/>
            <pc:sldMk cId="1769867695" sldId="2392"/>
            <ac:spMk id="2" creationId="{00000000-0000-0000-0000-000000000000}"/>
          </ac:spMkLst>
        </pc:spChg>
        <pc:spChg chg="add del mod modVis">
          <ac:chgData name="van Leeuwen  Sara (VPPL)" userId="7a5f1df4-0dd0-4c9e-a72f-a035cf318af6" providerId="ADAL" clId="{AAA37DE2-93D3-44F8-BE87-C19EC6771CD3}" dt="2023-09-20T13:54:55.061" v="2353"/>
          <ac:spMkLst>
            <pc:docMk/>
            <pc:sldMk cId="1769867695" sldId="2392"/>
            <ac:spMk id="3" creationId="{4FBAE65D-98CE-F062-625F-2762502A105D}"/>
          </ac:spMkLst>
        </pc:spChg>
        <pc:spChg chg="add del mod modVis">
          <ac:chgData name="van Leeuwen  Sara (VPPL)" userId="7a5f1df4-0dd0-4c9e-a72f-a035cf318af6" providerId="ADAL" clId="{AAA37DE2-93D3-44F8-BE87-C19EC6771CD3}" dt="2023-09-21T08:01:08.141" v="15302" actId="478"/>
          <ac:spMkLst>
            <pc:docMk/>
            <pc:sldMk cId="1769867695" sldId="2392"/>
            <ac:spMk id="3" creationId="{EFDA7B93-3990-155A-01AD-7B0AAD628990}"/>
          </ac:spMkLst>
        </pc:spChg>
        <pc:spChg chg="mod">
          <ac:chgData name="van Leeuwen  Sara (VPPL)" userId="7a5f1df4-0dd0-4c9e-a72f-a035cf318af6" providerId="ADAL" clId="{AAA37DE2-93D3-44F8-BE87-C19EC6771CD3}" dt="2023-09-21T07:58:43.270" v="4086" actId="947"/>
          <ac:spMkLst>
            <pc:docMk/>
            <pc:sldMk cId="1769867695" sldId="2392"/>
            <ac:spMk id="4" creationId="{00000000-0000-0000-0000-000000000000}"/>
          </ac:spMkLst>
        </pc:spChg>
        <pc:spChg chg="mod">
          <ac:chgData name="van Leeuwen  Sara (VPPL)" userId="7a5f1df4-0dd0-4c9e-a72f-a035cf318af6" providerId="ADAL" clId="{AAA37DE2-93D3-44F8-BE87-C19EC6771CD3}" dt="2023-09-21T07:58:43.270" v="4090" actId="947"/>
          <ac:spMkLst>
            <pc:docMk/>
            <pc:sldMk cId="1769867695" sldId="2392"/>
            <ac:spMk id="6" creationId="{00000000-0000-0000-0000-000000000000}"/>
          </ac:spMkLst>
        </pc:spChg>
        <pc:spChg chg="mod">
          <ac:chgData name="van Leeuwen  Sara (VPPL)" userId="7a5f1df4-0dd0-4c9e-a72f-a035cf318af6" providerId="ADAL" clId="{AAA37DE2-93D3-44F8-BE87-C19EC6771CD3}" dt="2023-09-21T07:58:43.279" v="4092" actId="947"/>
          <ac:spMkLst>
            <pc:docMk/>
            <pc:sldMk cId="1769867695" sldId="2392"/>
            <ac:spMk id="7" creationId="{8B4571F4-CEEE-40D0-A216-BDA48C6DB1A7}"/>
          </ac:spMkLst>
        </pc:spChg>
        <pc:spChg chg="mod">
          <ac:chgData name="van Leeuwen  Sara (VPPL)" userId="7a5f1df4-0dd0-4c9e-a72f-a035cf318af6" providerId="ADAL" clId="{AAA37DE2-93D3-44F8-BE87-C19EC6771CD3}" dt="2023-09-21T08:01:07.244" v="11905" actId="790"/>
          <ac:spMkLst>
            <pc:docMk/>
            <pc:sldMk cId="1769867695" sldId="2392"/>
            <ac:spMk id="8" creationId="{D75AFB06-C0D5-C44A-AFA0-9276A7192873}"/>
          </ac:spMkLst>
        </pc:spChg>
        <pc:spChg chg="del">
          <ac:chgData name="van Leeuwen  Sara (VPPL)" userId="7a5f1df4-0dd0-4c9e-a72f-a035cf318af6" providerId="ADAL" clId="{AAA37DE2-93D3-44F8-BE87-C19EC6771CD3}" dt="2023-09-21T07:48:34.956" v="3735" actId="478"/>
          <ac:spMkLst>
            <pc:docMk/>
            <pc:sldMk cId="1769867695" sldId="2392"/>
            <ac:spMk id="9" creationId="{5C1197DD-DFB9-D466-CA64-DF4F078EF8F3}"/>
          </ac:spMkLst>
        </pc:spChg>
        <pc:graphicFrameChg chg="mod">
          <ac:chgData name="van Leeuwen  Sara (VPPL)" userId="7a5f1df4-0dd0-4c9e-a72f-a035cf318af6" providerId="ADAL" clId="{AAA37DE2-93D3-44F8-BE87-C19EC6771CD3}" dt="2023-09-21T08:01:08.345" v="15432"/>
          <ac:graphicFrameMkLst>
            <pc:docMk/>
            <pc:sldMk cId="1769867695" sldId="2392"/>
            <ac:graphicFrameMk id="5" creationId="{672A6001-9BB9-A627-E613-6E007AFFCCA1}"/>
          </ac:graphicFrameMkLst>
        </pc:graphicFrameChg>
        <pc:graphicFrameChg chg="mod modGraphic">
          <ac:chgData name="van Leeuwen  Sara (VPPL)" userId="7a5f1df4-0dd0-4c9e-a72f-a035cf318af6" providerId="ADAL" clId="{AAA37DE2-93D3-44F8-BE87-C19EC6771CD3}" dt="2023-09-21T09:45:08.301" v="17442" actId="1036"/>
          <ac:graphicFrameMkLst>
            <pc:docMk/>
            <pc:sldMk cId="1769867695" sldId="2392"/>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16" v="15422"/>
        <pc:sldMkLst>
          <pc:docMk/>
          <pc:sldMk cId="2631741042" sldId="2394"/>
        </pc:sldMkLst>
        <pc:spChg chg="mod">
          <ac:chgData name="van Leeuwen  Sara (VPPL)" userId="7a5f1df4-0dd0-4c9e-a72f-a035cf318af6" providerId="ADAL" clId="{AAA37DE2-93D3-44F8-BE87-C19EC6771CD3}" dt="2023-09-21T08:01:07.827" v="14047" actId="948"/>
          <ac:spMkLst>
            <pc:docMk/>
            <pc:sldMk cId="2631741042" sldId="2394"/>
            <ac:spMk id="2" creationId="{C2543CB6-7CCE-4092-94E2-1F9AF86C92CD}"/>
          </ac:spMkLst>
        </pc:spChg>
        <pc:spChg chg="mod">
          <ac:chgData name="van Leeuwen  Sara (VPPL)" userId="7a5f1df4-0dd0-4c9e-a72f-a035cf318af6" providerId="ADAL" clId="{AAA37DE2-93D3-44F8-BE87-C19EC6771CD3}" dt="2023-09-21T07:58:43.081" v="3878" actId="947"/>
          <ac:spMkLst>
            <pc:docMk/>
            <pc:sldMk cId="2631741042" sldId="2394"/>
            <ac:spMk id="3" creationId="{E9BBD3EE-C606-408E-8853-A8E4F45E02CE}"/>
          </ac:spMkLst>
        </pc:spChg>
        <pc:spChg chg="mod">
          <ac:chgData name="van Leeuwen  Sara (VPPL)" userId="7a5f1df4-0dd0-4c9e-a72f-a035cf318af6" providerId="ADAL" clId="{AAA37DE2-93D3-44F8-BE87-C19EC6771CD3}" dt="2023-09-21T07:58:43.081" v="3880" actId="947"/>
          <ac:spMkLst>
            <pc:docMk/>
            <pc:sldMk cId="2631741042" sldId="2394"/>
            <ac:spMk id="4" creationId="{5E02C3D0-A359-4178-9EFD-2A2F1CCA3032}"/>
          </ac:spMkLst>
        </pc:spChg>
        <pc:spChg chg="mod">
          <ac:chgData name="van Leeuwen  Sara (VPPL)" userId="7a5f1df4-0dd0-4c9e-a72f-a035cf318af6" providerId="ADAL" clId="{AAA37DE2-93D3-44F8-BE87-C19EC6771CD3}" dt="2023-09-21T08:01:07.215" v="11699" actId="790"/>
          <ac:spMkLst>
            <pc:docMk/>
            <pc:sldMk cId="2631741042" sldId="2394"/>
            <ac:spMk id="5" creationId="{0DF16D9C-E39F-48C7-B71A-BE99D6CB0F36}"/>
          </ac:spMkLst>
        </pc:spChg>
        <pc:spChg chg="mod">
          <ac:chgData name="van Leeuwen  Sara (VPPL)" userId="7a5f1df4-0dd0-4c9e-a72f-a035cf318af6" providerId="ADAL" clId="{AAA37DE2-93D3-44F8-BE87-C19EC6771CD3}" dt="2023-09-21T07:58:43.081" v="3884" actId="947"/>
          <ac:spMkLst>
            <pc:docMk/>
            <pc:sldMk cId="2631741042" sldId="2394"/>
            <ac:spMk id="6" creationId="{9D80BE71-A9EF-4DB5-8695-34039A31964C}"/>
          </ac:spMkLst>
        </pc:spChg>
        <pc:spChg chg="mod">
          <ac:chgData name="van Leeuwen  Sara (VPPL)" userId="7a5f1df4-0dd0-4c9e-a72f-a035cf318af6" providerId="ADAL" clId="{AAA37DE2-93D3-44F8-BE87-C19EC6771CD3}" dt="2023-09-21T07:58:43.081" v="3886" actId="947"/>
          <ac:spMkLst>
            <pc:docMk/>
            <pc:sldMk cId="2631741042" sldId="2394"/>
            <ac:spMk id="7" creationId="{E00086F2-3B9A-4050-BCCD-632B815B626F}"/>
          </ac:spMkLst>
        </pc:spChg>
        <pc:spChg chg="add del mod modVis">
          <ac:chgData name="van Leeuwen  Sara (VPPL)" userId="7a5f1df4-0dd0-4c9e-a72f-a035cf318af6" providerId="ADAL" clId="{AAA37DE2-93D3-44F8-BE87-C19EC6771CD3}" dt="2023-09-21T08:01:08.125" v="15267" actId="478"/>
          <ac:spMkLst>
            <pc:docMk/>
            <pc:sldMk cId="2631741042" sldId="2394"/>
            <ac:spMk id="8" creationId="{2029DCAE-A965-8595-C037-AB93D369B8C4}"/>
          </ac:spMkLst>
        </pc:spChg>
        <pc:graphicFrameChg chg="mod">
          <ac:chgData name="van Leeuwen  Sara (VPPL)" userId="7a5f1df4-0dd0-4c9e-a72f-a035cf318af6" providerId="ADAL" clId="{AAA37DE2-93D3-44F8-BE87-C19EC6771CD3}" dt="2023-09-21T08:01:08.316" v="15422"/>
          <ac:graphicFrameMkLst>
            <pc:docMk/>
            <pc:sldMk cId="2631741042" sldId="2394"/>
            <ac:graphicFrameMk id="9" creationId="{5FC14056-3291-216C-B428-AFA1A2516319}"/>
          </ac:graphicFrameMkLst>
        </pc:graphicFrameChg>
      </pc:sldChg>
      <pc:sldChg chg="addSp delSp modSp mod modNotes">
        <pc:chgData name="van Leeuwen  Sara (VPPL)" userId="7a5f1df4-0dd0-4c9e-a72f-a035cf318af6" providerId="ADAL" clId="{AAA37DE2-93D3-44F8-BE87-C19EC6771CD3}" dt="2023-09-21T08:01:08.376" v="15448"/>
        <pc:sldMkLst>
          <pc:docMk/>
          <pc:sldMk cId="282434247" sldId="2395"/>
        </pc:sldMkLst>
        <pc:spChg chg="mod">
          <ac:chgData name="van Leeuwen  Sara (VPPL)" userId="7a5f1df4-0dd0-4c9e-a72f-a035cf318af6" providerId="ADAL" clId="{AAA37DE2-93D3-44F8-BE87-C19EC6771CD3}" dt="2023-09-21T08:01:08.047" v="14920" actId="948"/>
          <ac:spMkLst>
            <pc:docMk/>
            <pc:sldMk cId="282434247" sldId="2395"/>
            <ac:spMk id="2" creationId="{C2543CB6-7CCE-4092-94E2-1F9AF86C92CD}"/>
          </ac:spMkLst>
        </pc:spChg>
        <pc:spChg chg="mod">
          <ac:chgData name="van Leeuwen  Sara (VPPL)" userId="7a5f1df4-0dd0-4c9e-a72f-a035cf318af6" providerId="ADAL" clId="{AAA37DE2-93D3-44F8-BE87-C19EC6771CD3}" dt="2023-09-21T08:01:07.260" v="11961" actId="790"/>
          <ac:spMkLst>
            <pc:docMk/>
            <pc:sldMk cId="282434247" sldId="2395"/>
            <ac:spMk id="3" creationId="{E9BBD3EE-C606-408E-8853-A8E4F45E02CE}"/>
          </ac:spMkLst>
        </pc:spChg>
        <pc:spChg chg="mod">
          <ac:chgData name="van Leeuwen  Sara (VPPL)" userId="7a5f1df4-0dd0-4c9e-a72f-a035cf318af6" providerId="ADAL" clId="{AAA37DE2-93D3-44F8-BE87-C19EC6771CD3}" dt="2023-09-21T07:58:43.381" v="4146" actId="947"/>
          <ac:spMkLst>
            <pc:docMk/>
            <pc:sldMk cId="282434247" sldId="2395"/>
            <ac:spMk id="4" creationId="{5E02C3D0-A359-4178-9EFD-2A2F1CCA3032}"/>
          </ac:spMkLst>
        </pc:spChg>
        <pc:spChg chg="mod">
          <ac:chgData name="van Leeuwen  Sara (VPPL)" userId="7a5f1df4-0dd0-4c9e-a72f-a035cf318af6" providerId="ADAL" clId="{AAA37DE2-93D3-44F8-BE87-C19EC6771CD3}" dt="2023-09-21T08:01:07.260" v="11965" actId="790"/>
          <ac:spMkLst>
            <pc:docMk/>
            <pc:sldMk cId="282434247" sldId="2395"/>
            <ac:spMk id="5" creationId="{0DF16D9C-E39F-48C7-B71A-BE99D6CB0F36}"/>
          </ac:spMkLst>
        </pc:spChg>
        <pc:spChg chg="mod">
          <ac:chgData name="van Leeuwen  Sara (VPPL)" userId="7a5f1df4-0dd0-4c9e-a72f-a035cf318af6" providerId="ADAL" clId="{AAA37DE2-93D3-44F8-BE87-C19EC6771CD3}" dt="2023-09-21T07:58:43.381" v="4150" actId="947"/>
          <ac:spMkLst>
            <pc:docMk/>
            <pc:sldMk cId="282434247" sldId="2395"/>
            <ac:spMk id="6" creationId="{9D80BE71-A9EF-4DB5-8695-34039A31964C}"/>
          </ac:spMkLst>
        </pc:spChg>
        <pc:spChg chg="add del mod modVis">
          <ac:chgData name="van Leeuwen  Sara (VPPL)" userId="7a5f1df4-0dd0-4c9e-a72f-a035cf318af6" providerId="ADAL" clId="{AAA37DE2-93D3-44F8-BE87-C19EC6771CD3}" dt="2023-09-21T08:01:08.141" v="15317" actId="478"/>
          <ac:spMkLst>
            <pc:docMk/>
            <pc:sldMk cId="282434247" sldId="2395"/>
            <ac:spMk id="7" creationId="{0D1DFB86-5ECC-3926-6C9E-579FA6816B24}"/>
          </ac:spMkLst>
        </pc:spChg>
        <pc:spChg chg="mod">
          <ac:chgData name="van Leeuwen  Sara (VPPL)" userId="7a5f1df4-0dd0-4c9e-a72f-a035cf318af6" providerId="ADAL" clId="{AAA37DE2-93D3-44F8-BE87-C19EC6771CD3}" dt="2023-09-21T07:58:43.381" v="4152" actId="947"/>
          <ac:spMkLst>
            <pc:docMk/>
            <pc:sldMk cId="282434247" sldId="2395"/>
            <ac:spMk id="12" creationId="{B77F3B61-CF9E-0A76-1E14-43DB665C527A}"/>
          </ac:spMkLst>
        </pc:spChg>
        <pc:graphicFrameChg chg="mod">
          <ac:chgData name="van Leeuwen  Sara (VPPL)" userId="7a5f1df4-0dd0-4c9e-a72f-a035cf318af6" providerId="ADAL" clId="{AAA37DE2-93D3-44F8-BE87-C19EC6771CD3}" dt="2023-09-21T08:01:08.376" v="15448"/>
          <ac:graphicFrameMkLst>
            <pc:docMk/>
            <pc:sldMk cId="282434247" sldId="2395"/>
            <ac:graphicFrameMk id="9" creationId="{8900C09A-BEC2-F04F-B75E-1370CB4A0336}"/>
          </ac:graphicFrameMkLst>
        </pc:graphicFrameChg>
      </pc:sldChg>
      <pc:sldChg chg="del">
        <pc:chgData name="van Leeuwen  Sara (VPPL)" userId="7a5f1df4-0dd0-4c9e-a72f-a035cf318af6" providerId="ADAL" clId="{AAA37DE2-93D3-44F8-BE87-C19EC6771CD3}" dt="2023-09-21T06:49:05.294" v="3174" actId="47"/>
        <pc:sldMkLst>
          <pc:docMk/>
          <pc:sldMk cId="2664544122" sldId="2397"/>
        </pc:sldMkLst>
      </pc:sldChg>
      <pc:sldChg chg="addSp delSp modSp mod modNotes">
        <pc:chgData name="van Leeuwen  Sara (VPPL)" userId="7a5f1df4-0dd0-4c9e-a72f-a035cf318af6" providerId="ADAL" clId="{AAA37DE2-93D3-44F8-BE87-C19EC6771CD3}" dt="2023-09-21T08:01:08.360" v="15444"/>
        <pc:sldMkLst>
          <pc:docMk/>
          <pc:sldMk cId="54911923" sldId="2398"/>
        </pc:sldMkLst>
        <pc:spChg chg="mod">
          <ac:chgData name="van Leeuwen  Sara (VPPL)" userId="7a5f1df4-0dd0-4c9e-a72f-a035cf318af6" providerId="ADAL" clId="{AAA37DE2-93D3-44F8-BE87-C19EC6771CD3}" dt="2023-09-21T07:58:43.397" v="4154" actId="947"/>
          <ac:spMkLst>
            <pc:docMk/>
            <pc:sldMk cId="54911923" sldId="2398"/>
            <ac:spMk id="4" creationId="{B5E241A7-3157-41BC-8F34-087641E61DF5}"/>
          </ac:spMkLst>
        </pc:spChg>
        <pc:spChg chg="add del mod modVis">
          <ac:chgData name="van Leeuwen  Sara (VPPL)" userId="7a5f1df4-0dd0-4c9e-a72f-a035cf318af6" providerId="ADAL" clId="{AAA37DE2-93D3-44F8-BE87-C19EC6771CD3}" dt="2023-09-21T08:01:08.141" v="15314" actId="478"/>
          <ac:spMkLst>
            <pc:docMk/>
            <pc:sldMk cId="54911923" sldId="2398"/>
            <ac:spMk id="5" creationId="{C71B34FB-A84F-C7E3-1966-225B436CAA9E}"/>
          </ac:spMkLst>
        </pc:spChg>
        <pc:spChg chg="mod">
          <ac:chgData name="van Leeuwen  Sara (VPPL)" userId="7a5f1df4-0dd0-4c9e-a72f-a035cf318af6" providerId="ADAL" clId="{AAA37DE2-93D3-44F8-BE87-C19EC6771CD3}" dt="2023-09-21T07:58:43.397" v="4156" actId="947"/>
          <ac:spMkLst>
            <pc:docMk/>
            <pc:sldMk cId="54911923" sldId="2398"/>
            <ac:spMk id="6" creationId="{C3EB1F58-4C36-41B8-9CB6-6A2B034CA338}"/>
          </ac:spMkLst>
        </pc:spChg>
        <pc:spChg chg="mod">
          <ac:chgData name="van Leeuwen  Sara (VPPL)" userId="7a5f1df4-0dd0-4c9e-a72f-a035cf318af6" providerId="ADAL" clId="{AAA37DE2-93D3-44F8-BE87-C19EC6771CD3}" dt="2023-09-21T08:01:08.031" v="14884" actId="948"/>
          <ac:spMkLst>
            <pc:docMk/>
            <pc:sldMk cId="54911923" sldId="2398"/>
            <ac:spMk id="7" creationId="{6DAAECCB-C308-43C7-82C6-BAB1F3827081}"/>
          </ac:spMkLst>
        </pc:spChg>
        <pc:spChg chg="mod">
          <ac:chgData name="van Leeuwen  Sara (VPPL)" userId="7a5f1df4-0dd0-4c9e-a72f-a035cf318af6" providerId="ADAL" clId="{AAA37DE2-93D3-44F8-BE87-C19EC6771CD3}" dt="2023-09-21T08:01:07.260" v="11978" actId="20577"/>
          <ac:spMkLst>
            <pc:docMk/>
            <pc:sldMk cId="54911923" sldId="2398"/>
            <ac:spMk id="10" creationId="{138B6753-7E47-4337-A6F5-5627C2C413FE}"/>
          </ac:spMkLst>
        </pc:spChg>
        <pc:spChg chg="mod">
          <ac:chgData name="van Leeuwen  Sara (VPPL)" userId="7a5f1df4-0dd0-4c9e-a72f-a035cf318af6" providerId="ADAL" clId="{AAA37DE2-93D3-44F8-BE87-C19EC6771CD3}" dt="2023-09-21T08:01:07.260" v="11982" actId="20577"/>
          <ac:spMkLst>
            <pc:docMk/>
            <pc:sldMk cId="54911923" sldId="2398"/>
            <ac:spMk id="14" creationId="{561B912D-C211-4E3C-BB22-7EFACE7DA23D}"/>
          </ac:spMkLst>
        </pc:spChg>
        <pc:spChg chg="mod">
          <ac:chgData name="van Leeuwen  Sara (VPPL)" userId="7a5f1df4-0dd0-4c9e-a72f-a035cf318af6" providerId="ADAL" clId="{AAA37DE2-93D3-44F8-BE87-C19EC6771CD3}" dt="2023-09-21T08:01:07.260" v="11986" actId="20577"/>
          <ac:spMkLst>
            <pc:docMk/>
            <pc:sldMk cId="54911923" sldId="2398"/>
            <ac:spMk id="18" creationId="{CD141509-65BB-4E73-9F6E-7D1C39894F21}"/>
          </ac:spMkLst>
        </pc:spChg>
        <pc:spChg chg="mod">
          <ac:chgData name="van Leeuwen  Sara (VPPL)" userId="7a5f1df4-0dd0-4c9e-a72f-a035cf318af6" providerId="ADAL" clId="{AAA37DE2-93D3-44F8-BE87-C19EC6771CD3}" dt="2023-09-21T07:58:43.428" v="4174" actId="947"/>
          <ac:spMkLst>
            <pc:docMk/>
            <pc:sldMk cId="54911923" sldId="2398"/>
            <ac:spMk id="21" creationId="{189F72B7-0371-E235-F696-891E2B3B8EAA}"/>
          </ac:spMkLst>
        </pc:spChg>
        <pc:spChg chg="mod">
          <ac:chgData name="van Leeuwen  Sara (VPPL)" userId="7a5f1df4-0dd0-4c9e-a72f-a035cf318af6" providerId="ADAL" clId="{AAA37DE2-93D3-44F8-BE87-C19EC6771CD3}" dt="2023-09-21T08:01:07.275" v="11993" actId="790"/>
          <ac:spMkLst>
            <pc:docMk/>
            <pc:sldMk cId="54911923" sldId="2398"/>
            <ac:spMk id="22" creationId="{CD6A7308-16BD-0457-C9AD-D60ED7C5E243}"/>
          </ac:spMkLst>
        </pc:spChg>
        <pc:spChg chg="mod">
          <ac:chgData name="van Leeuwen  Sara (VPPL)" userId="7a5f1df4-0dd0-4c9e-a72f-a035cf318af6" providerId="ADAL" clId="{AAA37DE2-93D3-44F8-BE87-C19EC6771CD3}" dt="2023-09-21T08:01:07.275" v="11987" actId="790"/>
          <ac:spMkLst>
            <pc:docMk/>
            <pc:sldMk cId="54911923" sldId="2398"/>
            <ac:spMk id="37" creationId="{166FA689-72C3-40C8-B811-164178E71FB6}"/>
          </ac:spMkLst>
        </pc:spChg>
        <pc:graphicFrameChg chg="mod">
          <ac:chgData name="van Leeuwen  Sara (VPPL)" userId="7a5f1df4-0dd0-4c9e-a72f-a035cf318af6" providerId="ADAL" clId="{AAA37DE2-93D3-44F8-BE87-C19EC6771CD3}" dt="2023-09-21T08:01:08.360" v="15444"/>
          <ac:graphicFrameMkLst>
            <pc:docMk/>
            <pc:sldMk cId="54911923" sldId="2398"/>
            <ac:graphicFrameMk id="3" creationId="{D1EE29B1-71E6-4C96-BE1D-B1770E8F62DA}"/>
          </ac:graphicFrameMkLst>
        </pc:graphicFrameChg>
        <pc:picChg chg="mod">
          <ac:chgData name="van Leeuwen  Sara (VPPL)" userId="7a5f1df4-0dd0-4c9e-a72f-a035cf318af6" providerId="ADAL" clId="{AAA37DE2-93D3-44F8-BE87-C19EC6771CD3}" dt="2023-09-20T14:08:26.908" v="2832" actId="1076"/>
          <ac:picMkLst>
            <pc:docMk/>
            <pc:sldMk cId="54911923" sldId="2398"/>
            <ac:picMk id="20" creationId="{8D7E286F-D8F6-4351-A36B-AFE55DB2E4B8}"/>
          </ac:picMkLst>
        </pc:picChg>
      </pc:sldChg>
      <pc:sldChg chg="addSp delSp modSp mod modNotes">
        <pc:chgData name="van Leeuwen  Sara (VPPL)" userId="7a5f1df4-0dd0-4c9e-a72f-a035cf318af6" providerId="ADAL" clId="{AAA37DE2-93D3-44F8-BE87-C19EC6771CD3}" dt="2023-09-21T08:48:06.134" v="17018" actId="20577"/>
        <pc:sldMkLst>
          <pc:docMk/>
          <pc:sldMk cId="1578806444" sldId="2407"/>
        </pc:sldMkLst>
        <pc:spChg chg="mod">
          <ac:chgData name="van Leeuwen  Sara (VPPL)" userId="7a5f1df4-0dd0-4c9e-a72f-a035cf318af6" providerId="ADAL" clId="{AAA37DE2-93D3-44F8-BE87-C19EC6771CD3}" dt="2023-09-21T08:01:07.952" v="14479" actId="948"/>
          <ac:spMkLst>
            <pc:docMk/>
            <pc:sldMk cId="1578806444" sldId="2407"/>
            <ac:spMk id="2" creationId="{79A1C4D2-CFB3-461C-AF47-77E2FE13A7D1}"/>
          </ac:spMkLst>
        </pc:spChg>
        <pc:spChg chg="mod">
          <ac:chgData name="van Leeuwen  Sara (VPPL)" userId="7a5f1df4-0dd0-4c9e-a72f-a035cf318af6" providerId="ADAL" clId="{AAA37DE2-93D3-44F8-BE87-C19EC6771CD3}" dt="2023-09-21T08:48:06.134" v="17018" actId="20577"/>
          <ac:spMkLst>
            <pc:docMk/>
            <pc:sldMk cId="1578806444" sldId="2407"/>
            <ac:spMk id="3" creationId="{0388AFFD-3076-49B5-B0DE-559A52DA68A3}"/>
          </ac:spMkLst>
        </pc:spChg>
        <pc:spChg chg="mod">
          <ac:chgData name="van Leeuwen  Sara (VPPL)" userId="7a5f1df4-0dd0-4c9e-a72f-a035cf318af6" providerId="ADAL" clId="{AAA37DE2-93D3-44F8-BE87-C19EC6771CD3}" dt="2023-09-21T07:58:43.113" v="3912" actId="947"/>
          <ac:spMkLst>
            <pc:docMk/>
            <pc:sldMk cId="1578806444" sldId="2407"/>
            <ac:spMk id="4" creationId="{9CA1C58A-C168-4EDF-B8E5-CC4D577EF906}"/>
          </ac:spMkLst>
        </pc:spChg>
        <pc:spChg chg="mod">
          <ac:chgData name="van Leeuwen  Sara (VPPL)" userId="7a5f1df4-0dd0-4c9e-a72f-a035cf318af6" providerId="ADAL" clId="{AAA37DE2-93D3-44F8-BE87-C19EC6771CD3}" dt="2023-09-21T08:01:07.215" v="11731" actId="790"/>
          <ac:spMkLst>
            <pc:docMk/>
            <pc:sldMk cId="1578806444" sldId="2407"/>
            <ac:spMk id="5" creationId="{85D9BC9D-3DA7-45F6-B926-A87C277DD9F8}"/>
          </ac:spMkLst>
        </pc:spChg>
        <pc:spChg chg="mod">
          <ac:chgData name="van Leeuwen  Sara (VPPL)" userId="7a5f1df4-0dd0-4c9e-a72f-a035cf318af6" providerId="ADAL" clId="{AAA37DE2-93D3-44F8-BE87-C19EC6771CD3}" dt="2023-09-21T07:58:43.113" v="3916" actId="947"/>
          <ac:spMkLst>
            <pc:docMk/>
            <pc:sldMk cId="1578806444" sldId="2407"/>
            <ac:spMk id="6" creationId="{10B85623-378B-4EB9-AA11-55C1EBD36CD0}"/>
          </ac:spMkLst>
        </pc:spChg>
        <pc:spChg chg="add del mod modVis">
          <ac:chgData name="van Leeuwen  Sara (VPPL)" userId="7a5f1df4-0dd0-4c9e-a72f-a035cf318af6" providerId="ADAL" clId="{AAA37DE2-93D3-44F8-BE87-C19EC6771CD3}" dt="2023-09-21T08:01:08.141" v="15294" actId="478"/>
          <ac:spMkLst>
            <pc:docMk/>
            <pc:sldMk cId="1578806444" sldId="2407"/>
            <ac:spMk id="7" creationId="{7EAB922A-6A69-92D8-4964-3982B16C521F}"/>
          </ac:spMkLst>
        </pc:spChg>
        <pc:spChg chg="mod">
          <ac:chgData name="van Leeuwen  Sara (VPPL)" userId="7a5f1df4-0dd0-4c9e-a72f-a035cf318af6" providerId="ADAL" clId="{AAA37DE2-93D3-44F8-BE87-C19EC6771CD3}" dt="2023-09-21T07:58:43.129" v="3918" actId="947"/>
          <ac:spMkLst>
            <pc:docMk/>
            <pc:sldMk cId="1578806444" sldId="2407"/>
            <ac:spMk id="8" creationId="{3F810E95-1E33-40B3-B601-24721E2C7DA5}"/>
          </ac:spMkLst>
        </pc:spChg>
        <pc:graphicFrameChg chg="mod">
          <ac:chgData name="van Leeuwen  Sara (VPPL)" userId="7a5f1df4-0dd0-4c9e-a72f-a035cf318af6" providerId="ADAL" clId="{AAA37DE2-93D3-44F8-BE87-C19EC6771CD3}" dt="2023-09-21T08:01:08.329" v="15424"/>
          <ac:graphicFrameMkLst>
            <pc:docMk/>
            <pc:sldMk cId="1578806444" sldId="2407"/>
            <ac:graphicFrameMk id="10" creationId="{6E928AC6-A280-4B48-BF6E-F71D1C3E3167}"/>
          </ac:graphicFrameMkLst>
        </pc:graphicFrameChg>
      </pc:sldChg>
      <pc:sldChg chg="addSp delSp modSp mod modNotes">
        <pc:chgData name="van Leeuwen  Sara (VPPL)" userId="7a5f1df4-0dd0-4c9e-a72f-a035cf318af6" providerId="ADAL" clId="{AAA37DE2-93D3-44F8-BE87-C19EC6771CD3}" dt="2023-09-21T08:01:08.316" v="15420"/>
        <pc:sldMkLst>
          <pc:docMk/>
          <pc:sldMk cId="2354758104" sldId="2408"/>
        </pc:sldMkLst>
        <pc:spChg chg="mod">
          <ac:chgData name="van Leeuwen  Sara (VPPL)" userId="7a5f1df4-0dd0-4c9e-a72f-a035cf318af6" providerId="ADAL" clId="{AAA37DE2-93D3-44F8-BE87-C19EC6771CD3}" dt="2023-09-21T08:01:07.622" v="13363" actId="948"/>
          <ac:spMkLst>
            <pc:docMk/>
            <pc:sldMk cId="2354758104" sldId="2408"/>
            <ac:spMk id="2" creationId="{00000000-0000-0000-0000-000000000000}"/>
          </ac:spMkLst>
        </pc:spChg>
        <pc:spChg chg="add del mod modVis">
          <ac:chgData name="van Leeuwen  Sara (VPPL)" userId="7a5f1df4-0dd0-4c9e-a72f-a035cf318af6" providerId="ADAL" clId="{AAA37DE2-93D3-44F8-BE87-C19EC6771CD3}" dt="2023-09-21T08:01:08.115" v="15227" actId="478"/>
          <ac:spMkLst>
            <pc:docMk/>
            <pc:sldMk cId="2354758104" sldId="2408"/>
            <ac:spMk id="3" creationId="{F547A8A2-51D8-1806-2AEC-4BC70A85FEBA}"/>
          </ac:spMkLst>
        </pc:spChg>
        <pc:spChg chg="mod">
          <ac:chgData name="van Leeuwen  Sara (VPPL)" userId="7a5f1df4-0dd0-4c9e-a72f-a035cf318af6" providerId="ADAL" clId="{AAA37DE2-93D3-44F8-BE87-C19EC6771CD3}" dt="2023-09-21T07:58:43.492" v="4258" actId="947"/>
          <ac:spMkLst>
            <pc:docMk/>
            <pc:sldMk cId="2354758104" sldId="2408"/>
            <ac:spMk id="4" creationId="{00000000-0000-0000-0000-000000000000}"/>
          </ac:spMkLst>
        </pc:spChg>
        <pc:spChg chg="mod">
          <ac:chgData name="van Leeuwen  Sara (VPPL)" userId="7a5f1df4-0dd0-4c9e-a72f-a035cf318af6" providerId="ADAL" clId="{AAA37DE2-93D3-44F8-BE87-C19EC6771CD3}" dt="2023-09-21T07:58:43.492" v="4262" actId="947"/>
          <ac:spMkLst>
            <pc:docMk/>
            <pc:sldMk cId="2354758104" sldId="2408"/>
            <ac:spMk id="6" creationId="{00000000-0000-0000-0000-000000000000}"/>
          </ac:spMkLst>
        </pc:spChg>
        <pc:spChg chg="mod">
          <ac:chgData name="van Leeuwen  Sara (VPPL)" userId="7a5f1df4-0dd0-4c9e-a72f-a035cf318af6" providerId="ADAL" clId="{AAA37DE2-93D3-44F8-BE87-C19EC6771CD3}" dt="2023-09-21T08:01:07.291" v="12077" actId="790"/>
          <ac:spMkLst>
            <pc:docMk/>
            <pc:sldMk cId="2354758104" sldId="2408"/>
            <ac:spMk id="8" creationId="{D75AFB06-C0D5-C44A-AFA0-9276A7192873}"/>
          </ac:spMkLst>
        </pc:spChg>
        <pc:spChg chg="mod">
          <ac:chgData name="van Leeuwen  Sara (VPPL)" userId="7a5f1df4-0dd0-4c9e-a72f-a035cf318af6" providerId="ADAL" clId="{AAA37DE2-93D3-44F8-BE87-C19EC6771CD3}" dt="2023-09-21T08:01:07.291" v="12074" actId="20577"/>
          <ac:spMkLst>
            <pc:docMk/>
            <pc:sldMk cId="2354758104" sldId="2408"/>
            <ac:spMk id="9" creationId="{B6B24EFB-329E-4BDB-8682-2837E8093CA9}"/>
          </ac:spMkLst>
        </pc:spChg>
        <pc:spChg chg="mod">
          <ac:chgData name="van Leeuwen  Sara (VPPL)" userId="7a5f1df4-0dd0-4c9e-a72f-a035cf318af6" providerId="ADAL" clId="{AAA37DE2-93D3-44F8-BE87-C19EC6771CD3}" dt="2023-09-21T07:58:43.508" v="4296" actId="947"/>
          <ac:spMkLst>
            <pc:docMk/>
            <pc:sldMk cId="2354758104" sldId="2408"/>
            <ac:spMk id="11" creationId="{5EE19B10-BD32-4855-BF14-2D427D1BFDF4}"/>
          </ac:spMkLst>
        </pc:spChg>
        <pc:graphicFrameChg chg="mod">
          <ac:chgData name="van Leeuwen  Sara (VPPL)" userId="7a5f1df4-0dd0-4c9e-a72f-a035cf318af6" providerId="ADAL" clId="{AAA37DE2-93D3-44F8-BE87-C19EC6771CD3}" dt="2023-09-21T08:01:08.316" v="15420"/>
          <ac:graphicFrameMkLst>
            <pc:docMk/>
            <pc:sldMk cId="2354758104" sldId="2408"/>
            <ac:graphicFrameMk id="5" creationId="{4EFD790E-C509-15F3-A548-0254A67D74B6}"/>
          </ac:graphicFrameMkLst>
        </pc:graphicFrameChg>
        <pc:graphicFrameChg chg="modGraphic">
          <ac:chgData name="van Leeuwen  Sara (VPPL)" userId="7a5f1df4-0dd0-4c9e-a72f-a035cf318af6" providerId="ADAL" clId="{AAA37DE2-93D3-44F8-BE87-C19EC6771CD3}" dt="2023-09-21T07:58:43.508" v="4294" actId="947"/>
          <ac:graphicFrameMkLst>
            <pc:docMk/>
            <pc:sldMk cId="2354758104" sldId="2408"/>
            <ac:graphicFrameMk id="10" creationId="{9B7E8B9D-5F9A-4F11-B14F-FECAB6CF2579}"/>
          </ac:graphicFrameMkLst>
        </pc:graphicFrameChg>
      </pc:sldChg>
      <pc:sldChg chg="addSp delSp modSp add mod modNotes">
        <pc:chgData name="van Leeuwen  Sara (VPPL)" userId="7a5f1df4-0dd0-4c9e-a72f-a035cf318af6" providerId="ADAL" clId="{AAA37DE2-93D3-44F8-BE87-C19EC6771CD3}" dt="2023-09-21T08:01:08.282" v="15402"/>
        <pc:sldMkLst>
          <pc:docMk/>
          <pc:sldMk cId="1776128425" sldId="2412"/>
        </pc:sldMkLst>
        <pc:spChg chg="mod">
          <ac:chgData name="van Leeuwen  Sara (VPPL)" userId="7a5f1df4-0dd0-4c9e-a72f-a035cf318af6" providerId="ADAL" clId="{AAA37DE2-93D3-44F8-BE87-C19EC6771CD3}" dt="2023-09-21T08:01:07.559" v="13075" actId="948"/>
          <ac:spMkLst>
            <pc:docMk/>
            <pc:sldMk cId="1776128425" sldId="2412"/>
            <ac:spMk id="2" creationId="{FC65B3EF-08EF-432C-BEBF-CB2B499FB533}"/>
          </ac:spMkLst>
        </pc:spChg>
        <pc:spChg chg="mod">
          <ac:chgData name="van Leeuwen  Sara (VPPL)" userId="7a5f1df4-0dd0-4c9e-a72f-a035cf318af6" providerId="ADAL" clId="{AAA37DE2-93D3-44F8-BE87-C19EC6771CD3}" dt="2023-09-21T07:58:43.603" v="4398" actId="947"/>
          <ac:spMkLst>
            <pc:docMk/>
            <pc:sldMk cId="1776128425" sldId="2412"/>
            <ac:spMk id="3" creationId="{D248A836-D270-48AC-93BC-E789F2E8E734}"/>
          </ac:spMkLst>
        </pc:spChg>
        <pc:spChg chg="mod">
          <ac:chgData name="van Leeuwen  Sara (VPPL)" userId="7a5f1df4-0dd0-4c9e-a72f-a035cf318af6" providerId="ADAL" clId="{AAA37DE2-93D3-44F8-BE87-C19EC6771CD3}" dt="2023-09-21T07:58:43.603" v="4400" actId="947"/>
          <ac:spMkLst>
            <pc:docMk/>
            <pc:sldMk cId="1776128425" sldId="2412"/>
            <ac:spMk id="4" creationId="{305442D0-14ED-4C2A-A91B-14866EB77D60}"/>
          </ac:spMkLst>
        </pc:spChg>
        <pc:spChg chg="mod">
          <ac:chgData name="van Leeuwen  Sara (VPPL)" userId="7a5f1df4-0dd0-4c9e-a72f-a035cf318af6" providerId="ADAL" clId="{AAA37DE2-93D3-44F8-BE87-C19EC6771CD3}" dt="2023-09-21T08:01:07.315" v="12219" actId="790"/>
          <ac:spMkLst>
            <pc:docMk/>
            <pc:sldMk cId="1776128425" sldId="2412"/>
            <ac:spMk id="5" creationId="{B057CD9C-7E82-4EE5-8D4A-CF1F831FF9E4}"/>
          </ac:spMkLst>
        </pc:spChg>
        <pc:spChg chg="mod">
          <ac:chgData name="van Leeuwen  Sara (VPPL)" userId="7a5f1df4-0dd0-4c9e-a72f-a035cf318af6" providerId="ADAL" clId="{AAA37DE2-93D3-44F8-BE87-C19EC6771CD3}" dt="2023-09-21T07:58:43.603" v="4404" actId="947"/>
          <ac:spMkLst>
            <pc:docMk/>
            <pc:sldMk cId="1776128425" sldId="2412"/>
            <ac:spMk id="6" creationId="{727CB4E9-0DB2-4603-A8AD-72263838A1CA}"/>
          </ac:spMkLst>
        </pc:spChg>
        <pc:spChg chg="mod">
          <ac:chgData name="van Leeuwen  Sara (VPPL)" userId="7a5f1df4-0dd0-4c9e-a72f-a035cf318af6" providerId="ADAL" clId="{AAA37DE2-93D3-44F8-BE87-C19EC6771CD3}" dt="2023-09-21T08:01:07.315" v="12226" actId="20577"/>
          <ac:spMkLst>
            <pc:docMk/>
            <pc:sldMk cId="1776128425" sldId="2412"/>
            <ac:spMk id="7" creationId="{4EEF28D3-ECB8-4C59-9270-E65402E2F891}"/>
          </ac:spMkLst>
        </pc:spChg>
        <pc:spChg chg="mod">
          <ac:chgData name="van Leeuwen  Sara (VPPL)" userId="7a5f1df4-0dd0-4c9e-a72f-a035cf318af6" providerId="ADAL" clId="{AAA37DE2-93D3-44F8-BE87-C19EC6771CD3}" dt="2023-09-21T07:58:43.618" v="4412" actId="947"/>
          <ac:spMkLst>
            <pc:docMk/>
            <pc:sldMk cId="1776128425" sldId="2412"/>
            <ac:spMk id="9" creationId="{0E2807F2-D9BD-433B-B6EF-CF115AF7F215}"/>
          </ac:spMkLst>
        </pc:spChg>
        <pc:spChg chg="add del mod modVis">
          <ac:chgData name="van Leeuwen  Sara (VPPL)" userId="7a5f1df4-0dd0-4c9e-a72f-a035cf318af6" providerId="ADAL" clId="{AAA37DE2-93D3-44F8-BE87-C19EC6771CD3}" dt="2023-09-21T08:01:08.109" v="15211" actId="478"/>
          <ac:spMkLst>
            <pc:docMk/>
            <pc:sldMk cId="1776128425" sldId="2412"/>
            <ac:spMk id="11" creationId="{483B2BFC-FE1E-6772-819D-3E716E73DD3A}"/>
          </ac:spMkLst>
        </pc:spChg>
        <pc:spChg chg="mod">
          <ac:chgData name="van Leeuwen  Sara (VPPL)" userId="7a5f1df4-0dd0-4c9e-a72f-a035cf318af6" providerId="ADAL" clId="{AAA37DE2-93D3-44F8-BE87-C19EC6771CD3}" dt="2023-09-21T07:58:43.603" v="4410" actId="947"/>
          <ac:spMkLst>
            <pc:docMk/>
            <pc:sldMk cId="1776128425" sldId="2412"/>
            <ac:spMk id="13" creationId="{2B68A964-FCDE-4A36-85BA-08758536C95C}"/>
          </ac:spMkLst>
        </pc:spChg>
        <pc:graphicFrameChg chg="mod">
          <ac:chgData name="van Leeuwen  Sara (VPPL)" userId="7a5f1df4-0dd0-4c9e-a72f-a035cf318af6" providerId="ADAL" clId="{AAA37DE2-93D3-44F8-BE87-C19EC6771CD3}" dt="2023-09-21T08:01:08.282" v="15402"/>
          <ac:graphicFrameMkLst>
            <pc:docMk/>
            <pc:sldMk cId="1776128425" sldId="2412"/>
            <ac:graphicFrameMk id="15" creationId="{FDC0E8DE-1F70-9615-CBCD-D5F5B6F88FCD}"/>
          </ac:graphicFrameMkLst>
        </pc:graphicFrameChg>
      </pc:sldChg>
      <pc:sldChg chg="addSp delSp modSp mod modNotes">
        <pc:chgData name="van Leeuwen  Sara (VPPL)" userId="7a5f1df4-0dd0-4c9e-a72f-a035cf318af6" providerId="ADAL" clId="{AAA37DE2-93D3-44F8-BE87-C19EC6771CD3}" dt="2023-09-21T08:01:08.297" v="15414"/>
        <pc:sldMkLst>
          <pc:docMk/>
          <pc:sldMk cId="456252200" sldId="2414"/>
        </pc:sldMkLst>
        <pc:spChg chg="mod">
          <ac:chgData name="van Leeuwen  Sara (VPPL)" userId="7a5f1df4-0dd0-4c9e-a72f-a035cf318af6" providerId="ADAL" clId="{AAA37DE2-93D3-44F8-BE87-C19EC6771CD3}" dt="2023-09-21T08:01:07.622" v="13327" actId="948"/>
          <ac:spMkLst>
            <pc:docMk/>
            <pc:sldMk cId="456252200" sldId="2414"/>
            <ac:spMk id="2" creationId="{00000000-0000-0000-0000-000000000000}"/>
          </ac:spMkLst>
        </pc:spChg>
        <pc:spChg chg="add del mod modVis">
          <ac:chgData name="van Leeuwen  Sara (VPPL)" userId="7a5f1df4-0dd0-4c9e-a72f-a035cf318af6" providerId="ADAL" clId="{AAA37DE2-93D3-44F8-BE87-C19EC6771CD3}" dt="2023-09-21T08:01:08.115" v="15225" actId="478"/>
          <ac:spMkLst>
            <pc:docMk/>
            <pc:sldMk cId="456252200" sldId="2414"/>
            <ac:spMk id="3" creationId="{7F057320-A73D-2491-5F89-F2BC24CA47C7}"/>
          </ac:spMkLst>
        </pc:spChg>
        <pc:spChg chg="mod">
          <ac:chgData name="van Leeuwen  Sara (VPPL)" userId="7a5f1df4-0dd0-4c9e-a72f-a035cf318af6" providerId="ADAL" clId="{AAA37DE2-93D3-44F8-BE87-C19EC6771CD3}" dt="2023-09-21T07:58:43.523" v="4304" actId="947"/>
          <ac:spMkLst>
            <pc:docMk/>
            <pc:sldMk cId="456252200" sldId="2414"/>
            <ac:spMk id="4" creationId="{00000000-0000-0000-0000-000000000000}"/>
          </ac:spMkLst>
        </pc:spChg>
        <pc:spChg chg="mod">
          <ac:chgData name="van Leeuwen  Sara (VPPL)" userId="7a5f1df4-0dd0-4c9e-a72f-a035cf318af6" providerId="ADAL" clId="{AAA37DE2-93D3-44F8-BE87-C19EC6771CD3}" dt="2023-09-21T07:58:43.523" v="4308" actId="947"/>
          <ac:spMkLst>
            <pc:docMk/>
            <pc:sldMk cId="456252200" sldId="2414"/>
            <ac:spMk id="6" creationId="{00000000-0000-0000-0000-000000000000}"/>
          </ac:spMkLst>
        </pc:spChg>
        <pc:spChg chg="mod">
          <ac:chgData name="van Leeuwen  Sara (VPPL)" userId="7a5f1df4-0dd0-4c9e-a72f-a035cf318af6" providerId="ADAL" clId="{AAA37DE2-93D3-44F8-BE87-C19EC6771CD3}" dt="2023-09-21T08:01:07.307" v="12123" actId="790"/>
          <ac:spMkLst>
            <pc:docMk/>
            <pc:sldMk cId="456252200" sldId="2414"/>
            <ac:spMk id="8" creationId="{D75AFB06-C0D5-C44A-AFA0-9276A7192873}"/>
          </ac:spMkLst>
        </pc:spChg>
        <pc:spChg chg="mod">
          <ac:chgData name="van Leeuwen  Sara (VPPL)" userId="7a5f1df4-0dd0-4c9e-a72f-a035cf318af6" providerId="ADAL" clId="{AAA37DE2-93D3-44F8-BE87-C19EC6771CD3}" dt="2023-09-21T08:01:07.307" v="12120" actId="20577"/>
          <ac:spMkLst>
            <pc:docMk/>
            <pc:sldMk cId="456252200" sldId="2414"/>
            <ac:spMk id="9" creationId="{B6B24EFB-329E-4BDB-8682-2837E8093CA9}"/>
          </ac:spMkLst>
        </pc:spChg>
        <pc:spChg chg="mod">
          <ac:chgData name="van Leeuwen  Sara (VPPL)" userId="7a5f1df4-0dd0-4c9e-a72f-a035cf318af6" providerId="ADAL" clId="{AAA37DE2-93D3-44F8-BE87-C19EC6771CD3}" dt="2023-09-21T07:58:43.555" v="4350" actId="947"/>
          <ac:spMkLst>
            <pc:docMk/>
            <pc:sldMk cId="456252200" sldId="2414"/>
            <ac:spMk id="11" creationId="{C3F031D6-7BD2-412A-AA1B-F883BFF23D67}"/>
          </ac:spMkLst>
        </pc:spChg>
        <pc:graphicFrameChg chg="mod">
          <ac:chgData name="van Leeuwen  Sara (VPPL)" userId="7a5f1df4-0dd0-4c9e-a72f-a035cf318af6" providerId="ADAL" clId="{AAA37DE2-93D3-44F8-BE87-C19EC6771CD3}" dt="2023-09-21T08:01:08.297" v="15414"/>
          <ac:graphicFrameMkLst>
            <pc:docMk/>
            <pc:sldMk cId="456252200" sldId="2414"/>
            <ac:graphicFrameMk id="5" creationId="{352B7F9C-4708-5E59-B06E-6196636E28CD}"/>
          </ac:graphicFrameMkLst>
        </pc:graphicFrameChg>
        <pc:graphicFrameChg chg="modGraphic">
          <ac:chgData name="van Leeuwen  Sara (VPPL)" userId="7a5f1df4-0dd0-4c9e-a72f-a035cf318af6" providerId="ADAL" clId="{AAA37DE2-93D3-44F8-BE87-C19EC6771CD3}" dt="2023-09-21T07:58:43.571" v="4382" actId="947"/>
          <ac:graphicFrameMkLst>
            <pc:docMk/>
            <pc:sldMk cId="456252200" sldId="2414"/>
            <ac:graphicFrameMk id="7" creationId="{E28215B8-1D8F-71F5-5163-55814B542277}"/>
          </ac:graphicFrameMkLst>
        </pc:graphicFrameChg>
        <pc:graphicFrameChg chg="modGraphic">
          <ac:chgData name="van Leeuwen  Sara (VPPL)" userId="7a5f1df4-0dd0-4c9e-a72f-a035cf318af6" providerId="ADAL" clId="{AAA37DE2-93D3-44F8-BE87-C19EC6771CD3}" dt="2023-09-21T07:58:43.555" v="4348" actId="947"/>
          <ac:graphicFrameMkLst>
            <pc:docMk/>
            <pc:sldMk cId="456252200" sldId="2414"/>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16" v="15418"/>
        <pc:sldMkLst>
          <pc:docMk/>
          <pc:sldMk cId="1201837209" sldId="2415"/>
        </pc:sldMkLst>
        <pc:spChg chg="mod">
          <ac:chgData name="van Leeuwen  Sara (VPPL)" userId="7a5f1df4-0dd0-4c9e-a72f-a035cf318af6" providerId="ADAL" clId="{AAA37DE2-93D3-44F8-BE87-C19EC6771CD3}" dt="2023-09-21T08:01:07.653" v="13471" actId="948"/>
          <ac:spMkLst>
            <pc:docMk/>
            <pc:sldMk cId="1201837209" sldId="2415"/>
            <ac:spMk id="2" creationId="{00000000-0000-0000-0000-000000000000}"/>
          </ac:spMkLst>
        </pc:spChg>
        <pc:spChg chg="add del mod modVis">
          <ac:chgData name="van Leeuwen  Sara (VPPL)" userId="7a5f1df4-0dd0-4c9e-a72f-a035cf318af6" providerId="ADAL" clId="{AAA37DE2-93D3-44F8-BE87-C19EC6771CD3}" dt="2023-09-21T08:01:08.115" v="15233" actId="478"/>
          <ac:spMkLst>
            <pc:docMk/>
            <pc:sldMk cId="1201837209" sldId="2415"/>
            <ac:spMk id="3" creationId="{635B42AB-7EF8-EC6A-B3D5-481DFEB5C1D9}"/>
          </ac:spMkLst>
        </pc:spChg>
        <pc:spChg chg="mod">
          <ac:chgData name="van Leeuwen  Sara (VPPL)" userId="7a5f1df4-0dd0-4c9e-a72f-a035cf318af6" providerId="ADAL" clId="{AAA37DE2-93D3-44F8-BE87-C19EC6771CD3}" dt="2023-09-21T07:58:43.634" v="4420" actId="947"/>
          <ac:spMkLst>
            <pc:docMk/>
            <pc:sldMk cId="1201837209" sldId="2415"/>
            <ac:spMk id="4" creationId="{00000000-0000-0000-0000-000000000000}"/>
          </ac:spMkLst>
        </pc:spChg>
        <pc:spChg chg="mod">
          <ac:chgData name="van Leeuwen  Sara (VPPL)" userId="7a5f1df4-0dd0-4c9e-a72f-a035cf318af6" providerId="ADAL" clId="{AAA37DE2-93D3-44F8-BE87-C19EC6771CD3}" dt="2023-09-21T07:58:43.639" v="4424" actId="947"/>
          <ac:spMkLst>
            <pc:docMk/>
            <pc:sldMk cId="1201837209" sldId="2415"/>
            <ac:spMk id="6" creationId="{00000000-0000-0000-0000-000000000000}"/>
          </ac:spMkLst>
        </pc:spChg>
        <pc:spChg chg="mod">
          <ac:chgData name="van Leeuwen  Sara (VPPL)" userId="7a5f1df4-0dd0-4c9e-a72f-a035cf318af6" providerId="ADAL" clId="{AAA37DE2-93D3-44F8-BE87-C19EC6771CD3}" dt="2023-09-21T08:01:07.315" v="12239" actId="790"/>
          <ac:spMkLst>
            <pc:docMk/>
            <pc:sldMk cId="1201837209" sldId="2415"/>
            <ac:spMk id="8" creationId="{D75AFB06-C0D5-C44A-AFA0-9276A7192873}"/>
          </ac:spMkLst>
        </pc:spChg>
        <pc:spChg chg="mod">
          <ac:chgData name="van Leeuwen  Sara (VPPL)" userId="7a5f1df4-0dd0-4c9e-a72f-a035cf318af6" providerId="ADAL" clId="{AAA37DE2-93D3-44F8-BE87-C19EC6771CD3}" dt="2023-09-21T08:01:07.315" v="12236" actId="20577"/>
          <ac:spMkLst>
            <pc:docMk/>
            <pc:sldMk cId="1201837209" sldId="2415"/>
            <ac:spMk id="9" creationId="{B6B24EFB-329E-4BDB-8682-2837E8093CA9}"/>
          </ac:spMkLst>
        </pc:spChg>
        <pc:spChg chg="mod">
          <ac:chgData name="van Leeuwen  Sara (VPPL)" userId="7a5f1df4-0dd0-4c9e-a72f-a035cf318af6" providerId="ADAL" clId="{AAA37DE2-93D3-44F8-BE87-C19EC6771CD3}" dt="2023-09-21T07:58:43.650" v="4466" actId="947"/>
          <ac:spMkLst>
            <pc:docMk/>
            <pc:sldMk cId="1201837209" sldId="2415"/>
            <ac:spMk id="11" creationId="{92267456-644C-4ABD-8DF8-DD133671384B}"/>
          </ac:spMkLst>
        </pc:spChg>
        <pc:graphicFrameChg chg="mod">
          <ac:chgData name="van Leeuwen  Sara (VPPL)" userId="7a5f1df4-0dd0-4c9e-a72f-a035cf318af6" providerId="ADAL" clId="{AAA37DE2-93D3-44F8-BE87-C19EC6771CD3}" dt="2023-09-21T08:01:08.316" v="15418"/>
          <ac:graphicFrameMkLst>
            <pc:docMk/>
            <pc:sldMk cId="1201837209" sldId="2415"/>
            <ac:graphicFrameMk id="5" creationId="{4157157A-A2E8-B94D-C3CB-8D20769C6F21}"/>
          </ac:graphicFrameMkLst>
        </pc:graphicFrameChg>
        <pc:graphicFrameChg chg="modGraphic">
          <ac:chgData name="van Leeuwen  Sara (VPPL)" userId="7a5f1df4-0dd0-4c9e-a72f-a035cf318af6" providerId="ADAL" clId="{AAA37DE2-93D3-44F8-BE87-C19EC6771CD3}" dt="2023-09-21T07:58:43.666" v="4498" actId="947"/>
          <ac:graphicFrameMkLst>
            <pc:docMk/>
            <pc:sldMk cId="1201837209" sldId="2415"/>
            <ac:graphicFrameMk id="7" creationId="{CB071684-A6F4-AD2D-614B-7C0DA5000E7A}"/>
          </ac:graphicFrameMkLst>
        </pc:graphicFrameChg>
        <pc:graphicFrameChg chg="modGraphic">
          <ac:chgData name="van Leeuwen  Sara (VPPL)" userId="7a5f1df4-0dd0-4c9e-a72f-a035cf318af6" providerId="ADAL" clId="{AAA37DE2-93D3-44F8-BE87-C19EC6771CD3}" dt="2023-09-21T07:58:43.650" v="4464" actId="947"/>
          <ac:graphicFrameMkLst>
            <pc:docMk/>
            <pc:sldMk cId="1201837209" sldId="2415"/>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376" v="15452"/>
        <pc:sldMkLst>
          <pc:docMk/>
          <pc:sldMk cId="1257036896" sldId="2421"/>
        </pc:sldMkLst>
        <pc:spChg chg="add del mod modVis">
          <ac:chgData name="van Leeuwen  Sara (VPPL)" userId="7a5f1df4-0dd0-4c9e-a72f-a035cf318af6" providerId="ADAL" clId="{AAA37DE2-93D3-44F8-BE87-C19EC6771CD3}" dt="2023-09-21T08:01:08.141" v="15321" actId="478"/>
          <ac:spMkLst>
            <pc:docMk/>
            <pc:sldMk cId="1257036896" sldId="2421"/>
            <ac:spMk id="2" creationId="{1B545750-79F0-1FF4-4BE3-A59713994FC2}"/>
          </ac:spMkLst>
        </pc:spChg>
        <pc:spChg chg="add del mod modVis">
          <ac:chgData name="van Leeuwen  Sara (VPPL)" userId="7a5f1df4-0dd0-4c9e-a72f-a035cf318af6" providerId="ADAL" clId="{AAA37DE2-93D3-44F8-BE87-C19EC6771CD3}" dt="2023-09-20T12:12:47.257" v="1159"/>
          <ac:spMkLst>
            <pc:docMk/>
            <pc:sldMk cId="1257036896" sldId="2421"/>
            <ac:spMk id="2" creationId="{429AE71A-5D8A-BD75-DA0F-714D683A8773}"/>
          </ac:spMkLst>
        </pc:spChg>
        <pc:spChg chg="mod">
          <ac:chgData name="van Leeuwen  Sara (VPPL)" userId="7a5f1df4-0dd0-4c9e-a72f-a035cf318af6" providerId="ADAL" clId="{AAA37DE2-93D3-44F8-BE87-C19EC6771CD3}" dt="2023-09-21T07:58:43.681" v="4504" actId="947"/>
          <ac:spMkLst>
            <pc:docMk/>
            <pc:sldMk cId="1257036896" sldId="2421"/>
            <ac:spMk id="4" creationId="{FA5818C9-C9D1-48A7-9FE3-27F36290F121}"/>
          </ac:spMkLst>
        </pc:spChg>
        <pc:spChg chg="mod">
          <ac:chgData name="van Leeuwen  Sara (VPPL)" userId="7a5f1df4-0dd0-4c9e-a72f-a035cf318af6" providerId="ADAL" clId="{AAA37DE2-93D3-44F8-BE87-C19EC6771CD3}" dt="2023-09-21T08:01:07.323" v="12323" actId="790"/>
          <ac:spMkLst>
            <pc:docMk/>
            <pc:sldMk cId="1257036896" sldId="2421"/>
            <ac:spMk id="5" creationId="{B4E16BDA-60AE-4049-B980-EBCC04B91BB3}"/>
          </ac:spMkLst>
        </pc:spChg>
        <pc:spChg chg="mod">
          <ac:chgData name="van Leeuwen  Sara (VPPL)" userId="7a5f1df4-0dd0-4c9e-a72f-a035cf318af6" providerId="ADAL" clId="{AAA37DE2-93D3-44F8-BE87-C19EC6771CD3}" dt="2023-09-21T07:58:43.681" v="4508" actId="947"/>
          <ac:spMkLst>
            <pc:docMk/>
            <pc:sldMk cId="1257036896" sldId="2421"/>
            <ac:spMk id="6" creationId="{CCDE28A4-0308-43D9-927A-710ACA164CBA}"/>
          </ac:spMkLst>
        </pc:spChg>
        <pc:spChg chg="mod">
          <ac:chgData name="van Leeuwen  Sara (VPPL)" userId="7a5f1df4-0dd0-4c9e-a72f-a035cf318af6" providerId="ADAL" clId="{AAA37DE2-93D3-44F8-BE87-C19EC6771CD3}" dt="2023-09-21T08:01:08.062" v="14992" actId="948"/>
          <ac:spMkLst>
            <pc:docMk/>
            <pc:sldMk cId="1257036896" sldId="2421"/>
            <ac:spMk id="8" creationId="{7615A340-A42F-4355-AF9F-1FA9C8C871B5}"/>
          </ac:spMkLst>
        </pc:spChg>
        <pc:spChg chg="mod">
          <ac:chgData name="van Leeuwen  Sara (VPPL)" userId="7a5f1df4-0dd0-4c9e-a72f-a035cf318af6" providerId="ADAL" clId="{AAA37DE2-93D3-44F8-BE87-C19EC6771CD3}" dt="2023-09-21T07:58:43.681" v="4502" actId="947"/>
          <ac:spMkLst>
            <pc:docMk/>
            <pc:sldMk cId="1257036896" sldId="2421"/>
            <ac:spMk id="9" creationId="{9209AE63-3AA5-4052-B998-05A99361B659}"/>
          </ac:spMkLst>
        </pc:spChg>
        <pc:spChg chg="mod">
          <ac:chgData name="van Leeuwen  Sara (VPPL)" userId="7a5f1df4-0dd0-4c9e-a72f-a035cf318af6" providerId="ADAL" clId="{AAA37DE2-93D3-44F8-BE87-C19EC6771CD3}" dt="2023-09-21T07:58:43.681" v="4510" actId="947"/>
          <ac:spMkLst>
            <pc:docMk/>
            <pc:sldMk cId="1257036896" sldId="2421"/>
            <ac:spMk id="10" creationId="{EDBD1B4F-7081-4E51-8198-482E2FAE9322}"/>
          </ac:spMkLst>
        </pc:spChg>
        <pc:graphicFrameChg chg="mod">
          <ac:chgData name="van Leeuwen  Sara (VPPL)" userId="7a5f1df4-0dd0-4c9e-a72f-a035cf318af6" providerId="ADAL" clId="{AAA37DE2-93D3-44F8-BE87-C19EC6771CD3}" dt="2023-09-21T08:01:08.376" v="15452"/>
          <ac:graphicFrameMkLst>
            <pc:docMk/>
            <pc:sldMk cId="1257036896" sldId="2421"/>
            <ac:graphicFrameMk id="3" creationId="{5755A7B0-3099-8ED9-DD67-7FDA65BEA332}"/>
          </ac:graphicFrameMkLst>
        </pc:graphicFrameChg>
      </pc:sldChg>
      <pc:sldChg chg="modSp mod modNotes">
        <pc:chgData name="van Leeuwen  Sara (VPPL)" userId="7a5f1df4-0dd0-4c9e-a72f-a035cf318af6" providerId="ADAL" clId="{AAA37DE2-93D3-44F8-BE87-C19EC6771CD3}" dt="2023-09-21T08:01:08.407" v="15464"/>
        <pc:sldMkLst>
          <pc:docMk/>
          <pc:sldMk cId="2330390072" sldId="2422"/>
        </pc:sldMkLst>
        <pc:spChg chg="mod">
          <ac:chgData name="van Leeuwen  Sara (VPPL)" userId="7a5f1df4-0dd0-4c9e-a72f-a035cf318af6" providerId="ADAL" clId="{AAA37DE2-93D3-44F8-BE87-C19EC6771CD3}" dt="2023-09-21T08:01:08.093" v="15172" actId="948"/>
          <ac:spMkLst>
            <pc:docMk/>
            <pc:sldMk cId="2330390072" sldId="2422"/>
            <ac:spMk id="2" creationId="{16DDB4A8-8E54-4562-8121-37460FF81563}"/>
          </ac:spMkLst>
        </pc:spChg>
        <pc:spChg chg="mod">
          <ac:chgData name="van Leeuwen  Sara (VPPL)" userId="7a5f1df4-0dd0-4c9e-a72f-a035cf318af6" providerId="ADAL" clId="{AAA37DE2-93D3-44F8-BE87-C19EC6771CD3}" dt="2023-09-21T07:58:43.808" v="4626" actId="947"/>
          <ac:spMkLst>
            <pc:docMk/>
            <pc:sldMk cId="2330390072" sldId="2422"/>
            <ac:spMk id="4" creationId="{FBA991CE-06F3-4A2A-8685-B91781527155}"/>
          </ac:spMkLst>
        </pc:spChg>
        <pc:spChg chg="mod">
          <ac:chgData name="van Leeuwen  Sara (VPPL)" userId="7a5f1df4-0dd0-4c9e-a72f-a035cf318af6" providerId="ADAL" clId="{AAA37DE2-93D3-44F8-BE87-C19EC6771CD3}" dt="2023-09-21T08:01:07.354" v="12449" actId="790"/>
          <ac:spMkLst>
            <pc:docMk/>
            <pc:sldMk cId="2330390072" sldId="2422"/>
            <ac:spMk id="5" creationId="{C7C6DBEA-F9A0-0BC9-25A5-9839A8F2523A}"/>
          </ac:spMkLst>
        </pc:spChg>
        <pc:spChg chg="mod">
          <ac:chgData name="van Leeuwen  Sara (VPPL)" userId="7a5f1df4-0dd0-4c9e-a72f-a035cf318af6" providerId="ADAL" clId="{AAA37DE2-93D3-44F8-BE87-C19EC6771CD3}" dt="2023-09-21T07:58:43.808" v="4628" actId="947"/>
          <ac:spMkLst>
            <pc:docMk/>
            <pc:sldMk cId="2330390072" sldId="2422"/>
            <ac:spMk id="6" creationId="{248C7CDF-0D2B-474C-A3C5-68C2D15B5AD7}"/>
          </ac:spMkLst>
        </pc:spChg>
        <pc:spChg chg="mod">
          <ac:chgData name="van Leeuwen  Sara (VPPL)" userId="7a5f1df4-0dd0-4c9e-a72f-a035cf318af6" providerId="ADAL" clId="{AAA37DE2-93D3-44F8-BE87-C19EC6771CD3}" dt="2023-09-21T07:58:43.808" v="4630" actId="947"/>
          <ac:spMkLst>
            <pc:docMk/>
            <pc:sldMk cId="2330390072" sldId="2422"/>
            <ac:spMk id="7" creationId="{56FF9BC1-A8A7-4A3F-A30B-3C00629A68E8}"/>
          </ac:spMkLst>
        </pc:spChg>
        <pc:graphicFrameChg chg="mod">
          <ac:chgData name="van Leeuwen  Sara (VPPL)" userId="7a5f1df4-0dd0-4c9e-a72f-a035cf318af6" providerId="ADAL" clId="{AAA37DE2-93D3-44F8-BE87-C19EC6771CD3}" dt="2023-09-21T08:01:08.407" v="15464"/>
          <ac:graphicFrameMkLst>
            <pc:docMk/>
            <pc:sldMk cId="2330390072" sldId="2422"/>
            <ac:graphicFrameMk id="3" creationId="{43CDCEE2-AAC6-003F-0A1F-30A6BCABF5A5}"/>
          </ac:graphicFrameMkLst>
        </pc:graphicFrameChg>
      </pc:sldChg>
      <pc:sldChg chg="addSp delSp modSp mod modNotes">
        <pc:chgData name="van Leeuwen  Sara (VPPL)" userId="7a5f1df4-0dd0-4c9e-a72f-a035cf318af6" providerId="ADAL" clId="{AAA37DE2-93D3-44F8-BE87-C19EC6771CD3}" dt="2023-09-21T09:45:13.436" v="17447" actId="1036"/>
        <pc:sldMkLst>
          <pc:docMk/>
          <pc:sldMk cId="3512549865" sldId="2427"/>
        </pc:sldMkLst>
        <pc:spChg chg="mod">
          <ac:chgData name="van Leeuwen  Sara (VPPL)" userId="7a5f1df4-0dd0-4c9e-a72f-a035cf318af6" providerId="ADAL" clId="{AAA37DE2-93D3-44F8-BE87-C19EC6771CD3}" dt="2023-09-21T08:01:07.999" v="14674" actId="948"/>
          <ac:spMkLst>
            <pc:docMk/>
            <pc:sldMk cId="3512549865" sldId="2427"/>
            <ac:spMk id="2" creationId="{00000000-0000-0000-0000-000000000000}"/>
          </ac:spMkLst>
        </pc:spChg>
        <pc:spChg chg="add del mod modVis">
          <ac:chgData name="van Leeuwen  Sara (VPPL)" userId="7a5f1df4-0dd0-4c9e-a72f-a035cf318af6" providerId="ADAL" clId="{AAA37DE2-93D3-44F8-BE87-C19EC6771CD3}" dt="2023-09-20T13:49:59.228" v="2272"/>
          <ac:spMkLst>
            <pc:docMk/>
            <pc:sldMk cId="3512549865" sldId="2427"/>
            <ac:spMk id="3" creationId="{8FDD6043-6A84-CFC8-CFFC-A5ED9134F24B}"/>
          </ac:spMkLst>
        </pc:spChg>
        <pc:spChg chg="add del mod modVis">
          <ac:chgData name="van Leeuwen  Sara (VPPL)" userId="7a5f1df4-0dd0-4c9e-a72f-a035cf318af6" providerId="ADAL" clId="{AAA37DE2-93D3-44F8-BE87-C19EC6771CD3}" dt="2023-09-21T08:01:08.141" v="15304" actId="478"/>
          <ac:spMkLst>
            <pc:docMk/>
            <pc:sldMk cId="3512549865" sldId="2427"/>
            <ac:spMk id="3" creationId="{B2585A70-BAD0-A4CB-7EEC-BE5B4A8A047A}"/>
          </ac:spMkLst>
        </pc:spChg>
        <pc:spChg chg="mod">
          <ac:chgData name="van Leeuwen  Sara (VPPL)" userId="7a5f1df4-0dd0-4c9e-a72f-a035cf318af6" providerId="ADAL" clId="{AAA37DE2-93D3-44F8-BE87-C19EC6771CD3}" dt="2023-09-21T07:58:43.239" v="4036" actId="947"/>
          <ac:spMkLst>
            <pc:docMk/>
            <pc:sldMk cId="3512549865" sldId="2427"/>
            <ac:spMk id="4" creationId="{00000000-0000-0000-0000-000000000000}"/>
          </ac:spMkLst>
        </pc:spChg>
        <pc:spChg chg="mod">
          <ac:chgData name="van Leeuwen  Sara (VPPL)" userId="7a5f1df4-0dd0-4c9e-a72f-a035cf318af6" providerId="ADAL" clId="{AAA37DE2-93D3-44F8-BE87-C19EC6771CD3}" dt="2023-09-21T07:58:43.239" v="4040" actId="947"/>
          <ac:spMkLst>
            <pc:docMk/>
            <pc:sldMk cId="3512549865" sldId="2427"/>
            <ac:spMk id="6" creationId="{00000000-0000-0000-0000-000000000000}"/>
          </ac:spMkLst>
        </pc:spChg>
        <pc:spChg chg="del">
          <ac:chgData name="van Leeuwen  Sara (VPPL)" userId="7a5f1df4-0dd0-4c9e-a72f-a035cf318af6" providerId="ADAL" clId="{AAA37DE2-93D3-44F8-BE87-C19EC6771CD3}" dt="2023-09-21T07:46:55.915" v="3732" actId="478"/>
          <ac:spMkLst>
            <pc:docMk/>
            <pc:sldMk cId="3512549865" sldId="2427"/>
            <ac:spMk id="7" creationId="{571C5360-E19F-39FB-D866-E8AD9E9A43CA}"/>
          </ac:spMkLst>
        </pc:spChg>
        <pc:spChg chg="mod">
          <ac:chgData name="van Leeuwen  Sara (VPPL)" userId="7a5f1df4-0dd0-4c9e-a72f-a035cf318af6" providerId="ADAL" clId="{AAA37DE2-93D3-44F8-BE87-C19EC6771CD3}" dt="2023-09-21T08:01:07.244" v="11855" actId="790"/>
          <ac:spMkLst>
            <pc:docMk/>
            <pc:sldMk cId="3512549865" sldId="2427"/>
            <ac:spMk id="8" creationId="{D75AFB06-C0D5-C44A-AFA0-9276A7192873}"/>
          </ac:spMkLst>
        </pc:spChg>
        <pc:spChg chg="mod">
          <ac:chgData name="van Leeuwen  Sara (VPPL)" userId="7a5f1df4-0dd0-4c9e-a72f-a035cf318af6" providerId="ADAL" clId="{AAA37DE2-93D3-44F8-BE87-C19EC6771CD3}" dt="2023-09-21T07:58:43.239" v="4042" actId="947"/>
          <ac:spMkLst>
            <pc:docMk/>
            <pc:sldMk cId="3512549865" sldId="2427"/>
            <ac:spMk id="11" creationId="{D546C90B-D125-48EE-A1FF-3334FE6CA27A}"/>
          </ac:spMkLst>
        </pc:spChg>
        <pc:graphicFrameChg chg="mod">
          <ac:chgData name="van Leeuwen  Sara (VPPL)" userId="7a5f1df4-0dd0-4c9e-a72f-a035cf318af6" providerId="ADAL" clId="{AAA37DE2-93D3-44F8-BE87-C19EC6771CD3}" dt="2023-09-21T08:01:08.345" v="15434"/>
          <ac:graphicFrameMkLst>
            <pc:docMk/>
            <pc:sldMk cId="3512549865" sldId="2427"/>
            <ac:graphicFrameMk id="5" creationId="{36BFE735-7DEC-F7BC-933D-DAC2EC342B0C}"/>
          </ac:graphicFrameMkLst>
        </pc:graphicFrameChg>
        <pc:graphicFrameChg chg="mod modGraphic">
          <ac:chgData name="van Leeuwen  Sara (VPPL)" userId="7a5f1df4-0dd0-4c9e-a72f-a035cf318af6" providerId="ADAL" clId="{AAA37DE2-93D3-44F8-BE87-C19EC6771CD3}" dt="2023-09-21T09:45:13.436" v="17447" actId="1036"/>
          <ac:graphicFrameMkLst>
            <pc:docMk/>
            <pc:sldMk cId="3512549865" sldId="2427"/>
            <ac:graphicFrameMk id="10" creationId="{9B7E8B9D-5F9A-4F11-B14F-FECAB6CF2579}"/>
          </ac:graphicFrameMkLst>
        </pc:graphicFrameChg>
      </pc:sldChg>
      <pc:sldChg chg="modSp mod modNotes">
        <pc:chgData name="van Leeuwen  Sara (VPPL)" userId="7a5f1df4-0dd0-4c9e-a72f-a035cf318af6" providerId="ADAL" clId="{AAA37DE2-93D3-44F8-BE87-C19EC6771CD3}" dt="2023-09-21T08:01:08.360" v="15446"/>
        <pc:sldMkLst>
          <pc:docMk/>
          <pc:sldMk cId="689743388" sldId="2428"/>
        </pc:sldMkLst>
        <pc:spChg chg="mod">
          <ac:chgData name="van Leeuwen  Sara (VPPL)" userId="7a5f1df4-0dd0-4c9e-a72f-a035cf318af6" providerId="ADAL" clId="{AAA37DE2-93D3-44F8-BE87-C19EC6771CD3}" dt="2023-09-21T07:58:43.349" v="4136" actId="947"/>
          <ac:spMkLst>
            <pc:docMk/>
            <pc:sldMk cId="689743388" sldId="2428"/>
            <ac:spMk id="4" creationId="{1C64F35D-60B1-47E8-8AA1-15FBD62E6694}"/>
          </ac:spMkLst>
        </pc:spChg>
        <pc:spChg chg="mod">
          <ac:chgData name="van Leeuwen  Sara (VPPL)" userId="7a5f1df4-0dd0-4c9e-a72f-a035cf318af6" providerId="ADAL" clId="{AAA37DE2-93D3-44F8-BE87-C19EC6771CD3}" dt="2023-09-21T07:58:43.349" v="4138" actId="947"/>
          <ac:spMkLst>
            <pc:docMk/>
            <pc:sldMk cId="689743388" sldId="2428"/>
            <ac:spMk id="5" creationId="{FFE3D09D-A5EF-4DB0-8BAE-BBD2BA7E76E2}"/>
          </ac:spMkLst>
        </pc:spChg>
        <pc:spChg chg="mod">
          <ac:chgData name="van Leeuwen  Sara (VPPL)" userId="7a5f1df4-0dd0-4c9e-a72f-a035cf318af6" providerId="ADAL" clId="{AAA37DE2-93D3-44F8-BE87-C19EC6771CD3}" dt="2023-09-21T07:58:43.365" v="4140" actId="947"/>
          <ac:spMkLst>
            <pc:docMk/>
            <pc:sldMk cId="689743388" sldId="2428"/>
            <ac:spMk id="6" creationId="{CFEE8961-1778-43E5-8D01-676802966A39}"/>
          </ac:spMkLst>
        </pc:spChg>
        <pc:spChg chg="mod">
          <ac:chgData name="van Leeuwen  Sara (VPPL)" userId="7a5f1df4-0dd0-4c9e-a72f-a035cf318af6" providerId="ADAL" clId="{AAA37DE2-93D3-44F8-BE87-C19EC6771CD3}" dt="2023-09-21T07:58:43.349" v="4134" actId="947"/>
          <ac:spMkLst>
            <pc:docMk/>
            <pc:sldMk cId="689743388" sldId="2428"/>
            <ac:spMk id="8" creationId="{AC1FB292-90C1-439C-8480-EB4116CF2374}"/>
          </ac:spMkLst>
        </pc:spChg>
        <pc:graphicFrameChg chg="mod">
          <ac:chgData name="van Leeuwen  Sara (VPPL)" userId="7a5f1df4-0dd0-4c9e-a72f-a035cf318af6" providerId="ADAL" clId="{AAA37DE2-93D3-44F8-BE87-C19EC6771CD3}" dt="2023-09-21T08:01:08.360" v="15446"/>
          <ac:graphicFrameMkLst>
            <pc:docMk/>
            <pc:sldMk cId="689743388" sldId="2428"/>
            <ac:graphicFrameMk id="3" creationId="{D0BD25E6-FA1C-5484-3331-B91F0F7B9647}"/>
          </ac:graphicFrameMkLst>
        </pc:graphicFrameChg>
      </pc:sldChg>
      <pc:sldChg chg="addSp delSp modSp mod modNotes">
        <pc:chgData name="van Leeuwen  Sara (VPPL)" userId="7a5f1df4-0dd0-4c9e-a72f-a035cf318af6" providerId="ADAL" clId="{AAA37DE2-93D3-44F8-BE87-C19EC6771CD3}" dt="2023-09-21T09:26:55.594" v="17382"/>
        <pc:sldMkLst>
          <pc:docMk/>
          <pc:sldMk cId="1289117044" sldId="2431"/>
        </pc:sldMkLst>
        <pc:spChg chg="mod">
          <ac:chgData name="van Leeuwen  Sara (VPPL)" userId="7a5f1df4-0dd0-4c9e-a72f-a035cf318af6" providerId="ADAL" clId="{AAA37DE2-93D3-44F8-BE87-C19EC6771CD3}" dt="2023-09-21T09:26:55.563" v="17339" actId="948"/>
          <ac:spMkLst>
            <pc:docMk/>
            <pc:sldMk cId="1289117044" sldId="2431"/>
            <ac:spMk id="2" creationId="{08698104-62D2-44F7-8498-4D2F01E2AB5C}"/>
          </ac:spMkLst>
        </pc:spChg>
        <pc:spChg chg="mod">
          <ac:chgData name="van Leeuwen  Sara (VPPL)" userId="7a5f1df4-0dd0-4c9e-a72f-a035cf318af6" providerId="ADAL" clId="{AAA37DE2-93D3-44F8-BE87-C19EC6771CD3}" dt="2023-09-21T07:58:43.097" v="3890" actId="947"/>
          <ac:spMkLst>
            <pc:docMk/>
            <pc:sldMk cId="1289117044" sldId="2431"/>
            <ac:spMk id="4" creationId="{2C7151FD-0B7E-40A5-B765-DCA9528BEB0E}"/>
          </ac:spMkLst>
        </pc:spChg>
        <pc:spChg chg="mod">
          <ac:chgData name="van Leeuwen  Sara (VPPL)" userId="7a5f1df4-0dd0-4c9e-a72f-a035cf318af6" providerId="ADAL" clId="{AAA37DE2-93D3-44F8-BE87-C19EC6771CD3}" dt="2023-09-21T08:01:07.215" v="11709" actId="790"/>
          <ac:spMkLst>
            <pc:docMk/>
            <pc:sldMk cId="1289117044" sldId="2431"/>
            <ac:spMk id="5" creationId="{0E142C1F-9344-4A89-B6B0-A96D514A3583}"/>
          </ac:spMkLst>
        </pc:spChg>
        <pc:spChg chg="mod">
          <ac:chgData name="van Leeuwen  Sara (VPPL)" userId="7a5f1df4-0dd0-4c9e-a72f-a035cf318af6" providerId="ADAL" clId="{AAA37DE2-93D3-44F8-BE87-C19EC6771CD3}" dt="2023-09-21T07:58:43.097" v="3894" actId="947"/>
          <ac:spMkLst>
            <pc:docMk/>
            <pc:sldMk cId="1289117044" sldId="2431"/>
            <ac:spMk id="6" creationId="{30493C4D-4FE7-4A4E-B4D3-67C813803591}"/>
          </ac:spMkLst>
        </pc:spChg>
        <pc:spChg chg="mod">
          <ac:chgData name="van Leeuwen  Sara (VPPL)" userId="7a5f1df4-0dd0-4c9e-a72f-a035cf318af6" providerId="ADAL" clId="{AAA37DE2-93D3-44F8-BE87-C19EC6771CD3}" dt="2023-09-21T07:58:43.097" v="3896" actId="947"/>
          <ac:spMkLst>
            <pc:docMk/>
            <pc:sldMk cId="1289117044" sldId="2431"/>
            <ac:spMk id="7" creationId="{4A8138F0-8B88-45AF-BB6F-E3C27F039B53}"/>
          </ac:spMkLst>
        </pc:spChg>
        <pc:spChg chg="add del mod modVis">
          <ac:chgData name="van Leeuwen  Sara (VPPL)" userId="7a5f1df4-0dd0-4c9e-a72f-a035cf318af6" providerId="ADAL" clId="{AAA37DE2-93D3-44F8-BE87-C19EC6771CD3}" dt="2023-09-21T08:01:08.125" v="15270" actId="478"/>
          <ac:spMkLst>
            <pc:docMk/>
            <pc:sldMk cId="1289117044" sldId="2431"/>
            <ac:spMk id="8" creationId="{149102B6-ED25-3047-3354-1742E9AD0CDD}"/>
          </ac:spMkLst>
        </pc:spChg>
        <pc:spChg chg="mod">
          <ac:chgData name="van Leeuwen  Sara (VPPL)" userId="7a5f1df4-0dd0-4c9e-a72f-a035cf318af6" providerId="ADAL" clId="{AAA37DE2-93D3-44F8-BE87-C19EC6771CD3}" dt="2023-09-21T08:01:07.215" v="11718" actId="20577"/>
          <ac:spMkLst>
            <pc:docMk/>
            <pc:sldMk cId="1289117044" sldId="2431"/>
            <ac:spMk id="10" creationId="{89002B66-8B82-4F4C-826B-607F78B71E25}"/>
          </ac:spMkLst>
        </pc:spChg>
        <pc:spChg chg="add del mod modVis">
          <ac:chgData name="van Leeuwen  Sara (VPPL)" userId="7a5f1df4-0dd0-4c9e-a72f-a035cf318af6" providerId="ADAL" clId="{AAA37DE2-93D3-44F8-BE87-C19EC6771CD3}" dt="2023-09-21T08:16:34.466" v="15523"/>
          <ac:spMkLst>
            <pc:docMk/>
            <pc:sldMk cId="1289117044" sldId="2431"/>
            <ac:spMk id="11" creationId="{95F62115-712C-44B2-D8D6-753BAA512509}"/>
          </ac:spMkLst>
        </pc:spChg>
        <pc:spChg chg="del mod">
          <ac:chgData name="van Leeuwen  Sara (VPPL)" userId="7a5f1df4-0dd0-4c9e-a72f-a035cf318af6" providerId="ADAL" clId="{AAA37DE2-93D3-44F8-BE87-C19EC6771CD3}" dt="2023-09-21T08:12:37.048" v="15470" actId="478"/>
          <ac:spMkLst>
            <pc:docMk/>
            <pc:sldMk cId="1289117044" sldId="2431"/>
            <ac:spMk id="12" creationId="{539F782F-4938-FF04-B90B-8FA18B828B29}"/>
          </ac:spMkLst>
        </pc:spChg>
        <pc:spChg chg="add del mod modVis">
          <ac:chgData name="van Leeuwen  Sara (VPPL)" userId="7a5f1df4-0dd0-4c9e-a72f-a035cf318af6" providerId="ADAL" clId="{AAA37DE2-93D3-44F8-BE87-C19EC6771CD3}" dt="2023-09-21T08:16:36.432" v="15569"/>
          <ac:spMkLst>
            <pc:docMk/>
            <pc:sldMk cId="1289117044" sldId="2431"/>
            <ac:spMk id="14" creationId="{F4DEC413-BD40-CC3E-54DC-678099E4D1ED}"/>
          </ac:spMkLst>
        </pc:spChg>
        <pc:spChg chg="add del mod modVis">
          <ac:chgData name="van Leeuwen  Sara (VPPL)" userId="7a5f1df4-0dd0-4c9e-a72f-a035cf318af6" providerId="ADAL" clId="{AAA37DE2-93D3-44F8-BE87-C19EC6771CD3}" dt="2023-09-21T08:16:41.444" v="15619"/>
          <ac:spMkLst>
            <pc:docMk/>
            <pc:sldMk cId="1289117044" sldId="2431"/>
            <ac:spMk id="15" creationId="{97BD7B49-DEC5-4086-A1C7-0F67C6CE5EBC}"/>
          </ac:spMkLst>
        </pc:spChg>
        <pc:spChg chg="mod">
          <ac:chgData name="van Leeuwen  Sara (VPPL)" userId="7a5f1df4-0dd0-4c9e-a72f-a035cf318af6" providerId="ADAL" clId="{AAA37DE2-93D3-44F8-BE87-C19EC6771CD3}" dt="2023-09-21T09:19:30.737" v="17169" actId="14100"/>
          <ac:spMkLst>
            <pc:docMk/>
            <pc:sldMk cId="1289117044" sldId="2431"/>
            <ac:spMk id="16" creationId="{610C0BC9-B539-4F72-A018-A02A8E404895}"/>
          </ac:spMkLst>
        </pc:spChg>
        <pc:spChg chg="add del mod modVis">
          <ac:chgData name="van Leeuwen  Sara (VPPL)" userId="7a5f1df4-0dd0-4c9e-a72f-a035cf318af6" providerId="ADAL" clId="{AAA37DE2-93D3-44F8-BE87-C19EC6771CD3}" dt="2023-09-21T08:16:44.765" v="15676"/>
          <ac:spMkLst>
            <pc:docMk/>
            <pc:sldMk cId="1289117044" sldId="2431"/>
            <ac:spMk id="17" creationId="{8BB2CF3D-6276-B1D1-7C64-00DB97EAC33F}"/>
          </ac:spMkLst>
        </pc:spChg>
        <pc:spChg chg="mod">
          <ac:chgData name="van Leeuwen  Sara (VPPL)" userId="7a5f1df4-0dd0-4c9e-a72f-a035cf318af6" providerId="ADAL" clId="{AAA37DE2-93D3-44F8-BE87-C19EC6771CD3}" dt="2023-09-21T09:19:01.561" v="17167" actId="14100"/>
          <ac:spMkLst>
            <pc:docMk/>
            <pc:sldMk cId="1289117044" sldId="2431"/>
            <ac:spMk id="21" creationId="{76BD90C2-8D4F-46E7-A04F-FF79D28D989A}"/>
          </ac:spMkLst>
        </pc:spChg>
        <pc:spChg chg="add del mod modVis">
          <ac:chgData name="van Leeuwen  Sara (VPPL)" userId="7a5f1df4-0dd0-4c9e-a72f-a035cf318af6" providerId="ADAL" clId="{AAA37DE2-93D3-44F8-BE87-C19EC6771CD3}" dt="2023-09-21T08:16:46.248" v="15727"/>
          <ac:spMkLst>
            <pc:docMk/>
            <pc:sldMk cId="1289117044" sldId="2431"/>
            <ac:spMk id="22" creationId="{00E43585-08D2-E389-5566-0D65F20DB058}"/>
          </ac:spMkLst>
        </pc:spChg>
        <pc:spChg chg="add del mod modVis">
          <ac:chgData name="van Leeuwen  Sara (VPPL)" userId="7a5f1df4-0dd0-4c9e-a72f-a035cf318af6" providerId="ADAL" clId="{AAA37DE2-93D3-44F8-BE87-C19EC6771CD3}" dt="2023-09-21T08:46:35.823" v="16610"/>
          <ac:spMkLst>
            <pc:docMk/>
            <pc:sldMk cId="1289117044" sldId="2431"/>
            <ac:spMk id="25" creationId="{E09967F5-B558-F992-37D0-4BC587C3CA92}"/>
          </ac:spMkLst>
        </pc:spChg>
        <pc:spChg chg="add del mod modVis">
          <ac:chgData name="van Leeuwen  Sara (VPPL)" userId="7a5f1df4-0dd0-4c9e-a72f-a035cf318af6" providerId="ADAL" clId="{AAA37DE2-93D3-44F8-BE87-C19EC6771CD3}" dt="2023-09-21T08:46:37.368" v="16658"/>
          <ac:spMkLst>
            <pc:docMk/>
            <pc:sldMk cId="1289117044" sldId="2431"/>
            <ac:spMk id="26" creationId="{5E471952-98B6-EC47-30CD-1422BEB5A1FB}"/>
          </ac:spMkLst>
        </pc:spChg>
        <pc:spChg chg="add del mod modVis">
          <ac:chgData name="van Leeuwen  Sara (VPPL)" userId="7a5f1df4-0dd0-4c9e-a72f-a035cf318af6" providerId="ADAL" clId="{AAA37DE2-93D3-44F8-BE87-C19EC6771CD3}" dt="2023-09-21T08:46:38.645" v="16713"/>
          <ac:spMkLst>
            <pc:docMk/>
            <pc:sldMk cId="1289117044" sldId="2431"/>
            <ac:spMk id="27" creationId="{B81D3242-BF3D-1B61-3F5E-1D0F961DC7D7}"/>
          </ac:spMkLst>
        </pc:spChg>
        <pc:spChg chg="add del mod modVis">
          <ac:chgData name="van Leeuwen  Sara (VPPL)" userId="7a5f1df4-0dd0-4c9e-a72f-a035cf318af6" providerId="ADAL" clId="{AAA37DE2-93D3-44F8-BE87-C19EC6771CD3}" dt="2023-09-21T08:46:40.381" v="16758"/>
          <ac:spMkLst>
            <pc:docMk/>
            <pc:sldMk cId="1289117044" sldId="2431"/>
            <ac:spMk id="28" creationId="{573E60E3-42E5-54B0-F173-838523461B19}"/>
          </ac:spMkLst>
        </pc:spChg>
        <pc:spChg chg="add del mod modVis">
          <ac:chgData name="van Leeuwen  Sara (VPPL)" userId="7a5f1df4-0dd0-4c9e-a72f-a035cf318af6" providerId="ADAL" clId="{AAA37DE2-93D3-44F8-BE87-C19EC6771CD3}" dt="2023-09-21T08:46:40.949" v="16803"/>
          <ac:spMkLst>
            <pc:docMk/>
            <pc:sldMk cId="1289117044" sldId="2431"/>
            <ac:spMk id="29" creationId="{56E9E70B-5641-4B28-AC36-11EAEADBF1EE}"/>
          </ac:spMkLst>
        </pc:spChg>
        <pc:spChg chg="add del mod modVis">
          <ac:chgData name="van Leeuwen  Sara (VPPL)" userId="7a5f1df4-0dd0-4c9e-a72f-a035cf318af6" providerId="ADAL" clId="{AAA37DE2-93D3-44F8-BE87-C19EC6771CD3}" dt="2023-09-21T08:46:42.132" v="16853"/>
          <ac:spMkLst>
            <pc:docMk/>
            <pc:sldMk cId="1289117044" sldId="2431"/>
            <ac:spMk id="30" creationId="{DEB0D261-71F4-0A16-1358-10786DE17C53}"/>
          </ac:spMkLst>
        </pc:spChg>
        <pc:spChg chg="add del mod modVis">
          <ac:chgData name="van Leeuwen  Sara (VPPL)" userId="7a5f1df4-0dd0-4c9e-a72f-a035cf318af6" providerId="ADAL" clId="{AAA37DE2-93D3-44F8-BE87-C19EC6771CD3}" dt="2023-09-21T08:46:44.194" v="16901"/>
          <ac:spMkLst>
            <pc:docMk/>
            <pc:sldMk cId="1289117044" sldId="2431"/>
            <ac:spMk id="31" creationId="{DBCDF2AE-7CCD-F984-4E02-A68A0261B4C5}"/>
          </ac:spMkLst>
        </pc:spChg>
        <pc:spChg chg="add del mod modVis">
          <ac:chgData name="van Leeuwen  Sara (VPPL)" userId="7a5f1df4-0dd0-4c9e-a72f-a035cf318af6" providerId="ADAL" clId="{AAA37DE2-93D3-44F8-BE87-C19EC6771CD3}" dt="2023-09-21T08:46:50.825" v="16955"/>
          <ac:spMkLst>
            <pc:docMk/>
            <pc:sldMk cId="1289117044" sldId="2431"/>
            <ac:spMk id="32" creationId="{7C50C7CC-5791-F06B-F4A7-E64F09A75340}"/>
          </ac:spMkLst>
        </pc:spChg>
        <pc:spChg chg="add del mod modVis">
          <ac:chgData name="van Leeuwen  Sara (VPPL)" userId="7a5f1df4-0dd0-4c9e-a72f-a035cf318af6" providerId="ADAL" clId="{AAA37DE2-93D3-44F8-BE87-C19EC6771CD3}" dt="2023-09-21T09:26:53.831" v="17289"/>
          <ac:spMkLst>
            <pc:docMk/>
            <pc:sldMk cId="1289117044" sldId="2431"/>
            <ac:spMk id="33" creationId="{261A3600-94DE-00C3-5A93-0FBA79DC0F28}"/>
          </ac:spMkLst>
        </pc:spChg>
        <pc:spChg chg="add del mod modVis">
          <ac:chgData name="van Leeuwen  Sara (VPPL)" userId="7a5f1df4-0dd0-4c9e-a72f-a035cf318af6" providerId="ADAL" clId="{AAA37DE2-93D3-44F8-BE87-C19EC6771CD3}" dt="2023-09-21T09:26:54.484" v="17334"/>
          <ac:spMkLst>
            <pc:docMk/>
            <pc:sldMk cId="1289117044" sldId="2431"/>
            <ac:spMk id="34" creationId="{B2B7F67F-760A-0A65-C5DA-93909866B1E2}"/>
          </ac:spMkLst>
        </pc:spChg>
        <pc:spChg chg="add del mod modVis">
          <ac:chgData name="van Leeuwen  Sara (VPPL)" userId="7a5f1df4-0dd0-4c9e-a72f-a035cf318af6" providerId="ADAL" clId="{AAA37DE2-93D3-44F8-BE87-C19EC6771CD3}" dt="2023-09-21T09:26:55.594" v="17380"/>
          <ac:spMkLst>
            <pc:docMk/>
            <pc:sldMk cId="1289117044" sldId="2431"/>
            <ac:spMk id="35" creationId="{37DCD2B1-DE8A-2595-4359-3D0E9AC844DB}"/>
          </ac:spMkLst>
        </pc:spChg>
        <pc:graphicFrameChg chg="mod">
          <ac:chgData name="van Leeuwen  Sara (VPPL)" userId="7a5f1df4-0dd0-4c9e-a72f-a035cf318af6" providerId="ADAL" clId="{AAA37DE2-93D3-44F8-BE87-C19EC6771CD3}" dt="2023-09-21T09:26:55.594" v="17382"/>
          <ac:graphicFrameMkLst>
            <pc:docMk/>
            <pc:sldMk cId="1289117044" sldId="2431"/>
            <ac:graphicFrameMk id="9" creationId="{ADB5C681-0F20-2515-3C36-02BE7407BA56}"/>
          </ac:graphicFrameMkLst>
        </pc:graphicFrameChg>
        <pc:picChg chg="mod">
          <ac:chgData name="van Leeuwen  Sara (VPPL)" userId="7a5f1df4-0dd0-4c9e-a72f-a035cf318af6" providerId="ADAL" clId="{AAA37DE2-93D3-44F8-BE87-C19EC6771CD3}" dt="2023-09-21T08:45:31.827" v="16545" actId="1076"/>
          <ac:picMkLst>
            <pc:docMk/>
            <pc:sldMk cId="1289117044" sldId="2431"/>
            <ac:picMk id="3" creationId="{4791305B-96B8-4804-92DD-3318E58CFD9D}"/>
          </ac:picMkLst>
        </pc:picChg>
        <pc:picChg chg="mod">
          <ac:chgData name="van Leeuwen  Sara (VPPL)" userId="7a5f1df4-0dd0-4c9e-a72f-a035cf318af6" providerId="ADAL" clId="{AAA37DE2-93D3-44F8-BE87-C19EC6771CD3}" dt="2023-09-21T08:45:12.639" v="16542" actId="1076"/>
          <ac:picMkLst>
            <pc:docMk/>
            <pc:sldMk cId="1289117044" sldId="2431"/>
            <ac:picMk id="13" creationId="{72090AE7-9624-4F36-AE5A-56FF4FE73935}"/>
          </ac:picMkLst>
        </pc:picChg>
        <pc:picChg chg="mod">
          <ac:chgData name="van Leeuwen  Sara (VPPL)" userId="7a5f1df4-0dd0-4c9e-a72f-a035cf318af6" providerId="ADAL" clId="{AAA37DE2-93D3-44F8-BE87-C19EC6771CD3}" dt="2023-09-21T08:45:39.792" v="16548" actId="1076"/>
          <ac:picMkLst>
            <pc:docMk/>
            <pc:sldMk cId="1289117044" sldId="2431"/>
            <ac:picMk id="18" creationId="{AE3A6DEC-99DC-408A-BCDE-E9FAD48A6E2D}"/>
          </ac:picMkLst>
        </pc:picChg>
        <pc:picChg chg="mod modCrop">
          <ac:chgData name="van Leeuwen  Sara (VPPL)" userId="7a5f1df4-0dd0-4c9e-a72f-a035cf318af6" providerId="ADAL" clId="{AAA37DE2-93D3-44F8-BE87-C19EC6771CD3}" dt="2023-09-21T09:19:43.620" v="17170" actId="1076"/>
          <ac:picMkLst>
            <pc:docMk/>
            <pc:sldMk cId="1289117044" sldId="2431"/>
            <ac:picMk id="19" creationId="{C827A84E-853D-4F4F-B2C0-D55B00AFDD82}"/>
          </ac:picMkLst>
        </pc:picChg>
        <pc:picChg chg="mod">
          <ac:chgData name="van Leeuwen  Sara (VPPL)" userId="7a5f1df4-0dd0-4c9e-a72f-a035cf318af6" providerId="ADAL" clId="{AAA37DE2-93D3-44F8-BE87-C19EC6771CD3}" dt="2023-09-21T08:45:09.467" v="16541" actId="1076"/>
          <ac:picMkLst>
            <pc:docMk/>
            <pc:sldMk cId="1289117044" sldId="2431"/>
            <ac:picMk id="20" creationId="{F6A64803-6769-44BF-8556-118AAC9376D4}"/>
          </ac:picMkLst>
        </pc:picChg>
        <pc:picChg chg="add mod">
          <ac:chgData name="van Leeuwen  Sara (VPPL)" userId="7a5f1df4-0dd0-4c9e-a72f-a035cf318af6" providerId="ADAL" clId="{AAA37DE2-93D3-44F8-BE87-C19EC6771CD3}" dt="2023-09-21T08:46:08.415" v="16553" actId="1076"/>
          <ac:picMkLst>
            <pc:docMk/>
            <pc:sldMk cId="1289117044" sldId="2431"/>
            <ac:picMk id="24" creationId="{7BCC7FA2-C324-C217-569B-CB43F3B8989C}"/>
          </ac:picMkLst>
        </pc:picChg>
      </pc:sldChg>
      <pc:sldChg chg="addSp delSp modSp mod modNotes">
        <pc:chgData name="van Leeuwen  Sara (VPPL)" userId="7a5f1df4-0dd0-4c9e-a72f-a035cf318af6" providerId="ADAL" clId="{AAA37DE2-93D3-44F8-BE87-C19EC6771CD3}" dt="2023-09-21T09:09:28.373" v="17068" actId="20577"/>
        <pc:sldMkLst>
          <pc:docMk/>
          <pc:sldMk cId="4240256703" sldId="2434"/>
        </pc:sldMkLst>
        <pc:spChg chg="mod">
          <ac:chgData name="van Leeuwen  Sara (VPPL)" userId="7a5f1df4-0dd0-4c9e-a72f-a035cf318af6" providerId="ADAL" clId="{AAA37DE2-93D3-44F8-BE87-C19EC6771CD3}" dt="2023-09-21T09:05:41.940" v="17021" actId="948"/>
          <ac:spMkLst>
            <pc:docMk/>
            <pc:sldMk cId="4240256703" sldId="2434"/>
            <ac:spMk id="2" creationId="{79A1C4D2-CFB3-461C-AF47-77E2FE13A7D1}"/>
          </ac:spMkLst>
        </pc:spChg>
        <pc:spChg chg="mod">
          <ac:chgData name="van Leeuwen  Sara (VPPL)" userId="7a5f1df4-0dd0-4c9e-a72f-a035cf318af6" providerId="ADAL" clId="{AAA37DE2-93D3-44F8-BE87-C19EC6771CD3}" dt="2023-09-21T07:58:43.129" v="3922" actId="947"/>
          <ac:spMkLst>
            <pc:docMk/>
            <pc:sldMk cId="4240256703" sldId="2434"/>
            <ac:spMk id="3" creationId="{0388AFFD-3076-49B5-B0DE-559A52DA68A3}"/>
          </ac:spMkLst>
        </pc:spChg>
        <pc:spChg chg="mod">
          <ac:chgData name="van Leeuwen  Sara (VPPL)" userId="7a5f1df4-0dd0-4c9e-a72f-a035cf318af6" providerId="ADAL" clId="{AAA37DE2-93D3-44F8-BE87-C19EC6771CD3}" dt="2023-09-21T07:58:43.129" v="3924" actId="947"/>
          <ac:spMkLst>
            <pc:docMk/>
            <pc:sldMk cId="4240256703" sldId="2434"/>
            <ac:spMk id="4" creationId="{9CA1C58A-C168-4EDF-B8E5-CC4D577EF906}"/>
          </ac:spMkLst>
        </pc:spChg>
        <pc:spChg chg="mod">
          <ac:chgData name="van Leeuwen  Sara (VPPL)" userId="7a5f1df4-0dd0-4c9e-a72f-a035cf318af6" providerId="ADAL" clId="{AAA37DE2-93D3-44F8-BE87-C19EC6771CD3}" dt="2023-09-21T08:01:07.229" v="11743" actId="790"/>
          <ac:spMkLst>
            <pc:docMk/>
            <pc:sldMk cId="4240256703" sldId="2434"/>
            <ac:spMk id="5" creationId="{85D9BC9D-3DA7-45F6-B926-A87C277DD9F8}"/>
          </ac:spMkLst>
        </pc:spChg>
        <pc:spChg chg="mod">
          <ac:chgData name="van Leeuwen  Sara (VPPL)" userId="7a5f1df4-0dd0-4c9e-a72f-a035cf318af6" providerId="ADAL" clId="{AAA37DE2-93D3-44F8-BE87-C19EC6771CD3}" dt="2023-09-21T07:58:43.129" v="3928" actId="947"/>
          <ac:spMkLst>
            <pc:docMk/>
            <pc:sldMk cId="4240256703" sldId="2434"/>
            <ac:spMk id="6" creationId="{10B85623-378B-4EB9-AA11-55C1EBD36CD0}"/>
          </ac:spMkLst>
        </pc:spChg>
        <pc:spChg chg="add del mod modVis">
          <ac:chgData name="van Leeuwen  Sara (VPPL)" userId="7a5f1df4-0dd0-4c9e-a72f-a035cf318af6" providerId="ADAL" clId="{AAA37DE2-93D3-44F8-BE87-C19EC6771CD3}" dt="2023-09-21T08:01:08.141" v="15312" actId="478"/>
          <ac:spMkLst>
            <pc:docMk/>
            <pc:sldMk cId="4240256703" sldId="2434"/>
            <ac:spMk id="7" creationId="{2884CFA6-81E7-79AB-A4D7-A1B7CF04A99D}"/>
          </ac:spMkLst>
        </pc:spChg>
        <pc:spChg chg="mod">
          <ac:chgData name="van Leeuwen  Sara (VPPL)" userId="7a5f1df4-0dd0-4c9e-a72f-a035cf318af6" providerId="ADAL" clId="{AAA37DE2-93D3-44F8-BE87-C19EC6771CD3}" dt="2023-09-21T07:58:43.139" v="3930" actId="947"/>
          <ac:spMkLst>
            <pc:docMk/>
            <pc:sldMk cId="4240256703" sldId="2434"/>
            <ac:spMk id="8" creationId="{3F810E95-1E33-40B3-B601-24721E2C7DA5}"/>
          </ac:spMkLst>
        </pc:spChg>
        <pc:spChg chg="del mod">
          <ac:chgData name="van Leeuwen  Sara (VPPL)" userId="7a5f1df4-0dd0-4c9e-a72f-a035cf318af6" providerId="ADAL" clId="{AAA37DE2-93D3-44F8-BE87-C19EC6771CD3}" dt="2023-09-21T08:48:25.847" v="17019" actId="478"/>
          <ac:spMkLst>
            <pc:docMk/>
            <pc:sldMk cId="4240256703" sldId="2434"/>
            <ac:spMk id="11" creationId="{DC6803D6-68BC-AB6B-C96F-B47E5E1B0245}"/>
          </ac:spMkLst>
        </pc:spChg>
        <pc:spChg chg="add del mod modVis">
          <ac:chgData name="van Leeuwen  Sara (VPPL)" userId="7a5f1df4-0dd0-4c9e-a72f-a035cf318af6" providerId="ADAL" clId="{AAA37DE2-93D3-44F8-BE87-C19EC6771CD3}" dt="2023-09-21T09:05:41.971" v="17062"/>
          <ac:spMkLst>
            <pc:docMk/>
            <pc:sldMk cId="4240256703" sldId="2434"/>
            <ac:spMk id="12" creationId="{E99DE9DA-915D-68D2-D30B-50514792E55D}"/>
          </ac:spMkLst>
        </pc:spChg>
        <pc:graphicFrameChg chg="mod">
          <ac:chgData name="van Leeuwen  Sara (VPPL)" userId="7a5f1df4-0dd0-4c9e-a72f-a035cf318af6" providerId="ADAL" clId="{AAA37DE2-93D3-44F8-BE87-C19EC6771CD3}" dt="2023-09-21T09:05:41.971" v="17064"/>
          <ac:graphicFrameMkLst>
            <pc:docMk/>
            <pc:sldMk cId="4240256703" sldId="2434"/>
            <ac:graphicFrameMk id="9" creationId="{84319D52-99EE-EE4B-35C3-4C037FDB14E5}"/>
          </ac:graphicFrameMkLst>
        </pc:graphicFrameChg>
        <pc:graphicFrameChg chg="modGraphic">
          <ac:chgData name="van Leeuwen  Sara (VPPL)" userId="7a5f1df4-0dd0-4c9e-a72f-a035cf318af6" providerId="ADAL" clId="{AAA37DE2-93D3-44F8-BE87-C19EC6771CD3}" dt="2023-09-21T09:09:28.373" v="17068" actId="20577"/>
          <ac:graphicFrameMkLst>
            <pc:docMk/>
            <pc:sldMk cId="4240256703" sldId="2434"/>
            <ac:graphicFrameMk id="10" creationId="{0EF152D8-7E22-405A-9145-E64DA0C4FFB0}"/>
          </ac:graphicFrameMkLst>
        </pc:graphicFrameChg>
      </pc:sldChg>
      <pc:sldChg chg="addSp delSp modSp mod modNotes">
        <pc:chgData name="van Leeuwen  Sara (VPPL)" userId="7a5f1df4-0dd0-4c9e-a72f-a035cf318af6" providerId="ADAL" clId="{AAA37DE2-93D3-44F8-BE87-C19EC6771CD3}" dt="2023-09-21T08:01:08.392" v="15456"/>
        <pc:sldMkLst>
          <pc:docMk/>
          <pc:sldMk cId="366332666" sldId="2435"/>
        </pc:sldMkLst>
        <pc:spChg chg="mod">
          <ac:chgData name="van Leeuwen  Sara (VPPL)" userId="7a5f1df4-0dd0-4c9e-a72f-a035cf318af6" providerId="ADAL" clId="{AAA37DE2-93D3-44F8-BE87-C19EC6771CD3}" dt="2023-09-21T08:01:08.078" v="15064" actId="948"/>
          <ac:spMkLst>
            <pc:docMk/>
            <pc:sldMk cId="366332666" sldId="2435"/>
            <ac:spMk id="2" creationId="{00000000-0000-0000-0000-000000000000}"/>
          </ac:spMkLst>
        </pc:spChg>
        <pc:spChg chg="add del mod modVis">
          <ac:chgData name="van Leeuwen  Sara (VPPL)" userId="7a5f1df4-0dd0-4c9e-a72f-a035cf318af6" providerId="ADAL" clId="{AAA37DE2-93D3-44F8-BE87-C19EC6771CD3}" dt="2023-09-21T08:01:08.141" v="15325" actId="478"/>
          <ac:spMkLst>
            <pc:docMk/>
            <pc:sldMk cId="366332666" sldId="2435"/>
            <ac:spMk id="3" creationId="{58C3CF26-C4EB-77A8-67CE-BC1AC82143F4}"/>
          </ac:spMkLst>
        </pc:spChg>
        <pc:spChg chg="mod">
          <ac:chgData name="van Leeuwen  Sara (VPPL)" userId="7a5f1df4-0dd0-4c9e-a72f-a035cf318af6" providerId="ADAL" clId="{AAA37DE2-93D3-44F8-BE87-C19EC6771CD3}" dt="2023-09-21T07:58:43.713" v="4536" actId="947"/>
          <ac:spMkLst>
            <pc:docMk/>
            <pc:sldMk cId="366332666" sldId="2435"/>
            <ac:spMk id="4" creationId="{00000000-0000-0000-0000-000000000000}"/>
          </ac:spMkLst>
        </pc:spChg>
        <pc:spChg chg="mod">
          <ac:chgData name="van Leeuwen  Sara (VPPL)" userId="7a5f1df4-0dd0-4c9e-a72f-a035cf318af6" providerId="ADAL" clId="{AAA37DE2-93D3-44F8-BE87-C19EC6771CD3}" dt="2023-09-21T07:58:43.729" v="4540" actId="947"/>
          <ac:spMkLst>
            <pc:docMk/>
            <pc:sldMk cId="366332666" sldId="2435"/>
            <ac:spMk id="6" creationId="{00000000-0000-0000-0000-000000000000}"/>
          </ac:spMkLst>
        </pc:spChg>
        <pc:spChg chg="mod">
          <ac:chgData name="van Leeuwen  Sara (VPPL)" userId="7a5f1df4-0dd0-4c9e-a72f-a035cf318af6" providerId="ADAL" clId="{AAA37DE2-93D3-44F8-BE87-C19EC6771CD3}" dt="2023-09-21T08:01:07.338" v="12355" actId="790"/>
          <ac:spMkLst>
            <pc:docMk/>
            <pc:sldMk cId="366332666" sldId="2435"/>
            <ac:spMk id="8" creationId="{D75AFB06-C0D5-C44A-AFA0-9276A7192873}"/>
          </ac:spMkLst>
        </pc:spChg>
        <pc:spChg chg="mod">
          <ac:chgData name="van Leeuwen  Sara (VPPL)" userId="7a5f1df4-0dd0-4c9e-a72f-a035cf318af6" providerId="ADAL" clId="{AAA37DE2-93D3-44F8-BE87-C19EC6771CD3}" dt="2023-09-21T08:01:07.338" v="12352" actId="20577"/>
          <ac:spMkLst>
            <pc:docMk/>
            <pc:sldMk cId="366332666" sldId="2435"/>
            <ac:spMk id="9" creationId="{B6B24EFB-329E-4BDB-8682-2837E8093CA9}"/>
          </ac:spMkLst>
        </pc:spChg>
        <pc:spChg chg="mod">
          <ac:chgData name="van Leeuwen  Sara (VPPL)" userId="7a5f1df4-0dd0-4c9e-a72f-a035cf318af6" providerId="ADAL" clId="{AAA37DE2-93D3-44F8-BE87-C19EC6771CD3}" dt="2023-09-21T07:58:43.745" v="4574" actId="947"/>
          <ac:spMkLst>
            <pc:docMk/>
            <pc:sldMk cId="366332666" sldId="2435"/>
            <ac:spMk id="11" creationId="{5EE19B10-BD32-4855-BF14-2D427D1BFDF4}"/>
          </ac:spMkLst>
        </pc:spChg>
        <pc:graphicFrameChg chg="mod">
          <ac:chgData name="van Leeuwen  Sara (VPPL)" userId="7a5f1df4-0dd0-4c9e-a72f-a035cf318af6" providerId="ADAL" clId="{AAA37DE2-93D3-44F8-BE87-C19EC6771CD3}" dt="2023-09-21T08:01:08.392" v="15456"/>
          <ac:graphicFrameMkLst>
            <pc:docMk/>
            <pc:sldMk cId="366332666" sldId="2435"/>
            <ac:graphicFrameMk id="5" creationId="{4EFD790E-C509-15F3-A548-0254A67D74B6}"/>
          </ac:graphicFrameMkLst>
        </pc:graphicFrameChg>
        <pc:graphicFrameChg chg="modGraphic">
          <ac:chgData name="van Leeuwen  Sara (VPPL)" userId="7a5f1df4-0dd0-4c9e-a72f-a035cf318af6" providerId="ADAL" clId="{AAA37DE2-93D3-44F8-BE87-C19EC6771CD3}" dt="2023-09-21T07:58:43.745" v="4572" actId="947"/>
          <ac:graphicFrameMkLst>
            <pc:docMk/>
            <pc:sldMk cId="366332666" sldId="2435"/>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282" v="15404"/>
        <pc:sldMkLst>
          <pc:docMk/>
          <pc:sldMk cId="115161503" sldId="2437"/>
        </pc:sldMkLst>
        <pc:spChg chg="mod">
          <ac:chgData name="van Leeuwen  Sara (VPPL)" userId="7a5f1df4-0dd0-4c9e-a72f-a035cf318af6" providerId="ADAL" clId="{AAA37DE2-93D3-44F8-BE87-C19EC6771CD3}" dt="2023-09-21T08:01:07.574" v="13147" actId="948"/>
          <ac:spMkLst>
            <pc:docMk/>
            <pc:sldMk cId="115161503" sldId="2437"/>
            <ac:spMk id="2" creationId="{00000000-0000-0000-0000-000000000000}"/>
          </ac:spMkLst>
        </pc:spChg>
        <pc:spChg chg="add del mod modVis">
          <ac:chgData name="van Leeuwen  Sara (VPPL)" userId="7a5f1df4-0dd0-4c9e-a72f-a035cf318af6" providerId="ADAL" clId="{AAA37DE2-93D3-44F8-BE87-C19EC6771CD3}" dt="2023-09-20T12:15:18.231" v="1426"/>
          <ac:spMkLst>
            <pc:docMk/>
            <pc:sldMk cId="115161503" sldId="2437"/>
            <ac:spMk id="3" creationId="{649A3995-A21B-56EF-811C-09478E46B5F1}"/>
          </ac:spMkLst>
        </pc:spChg>
        <pc:spChg chg="add del mod modVis">
          <ac:chgData name="van Leeuwen  Sara (VPPL)" userId="7a5f1df4-0dd0-4c9e-a72f-a035cf318af6" providerId="ADAL" clId="{AAA37DE2-93D3-44F8-BE87-C19EC6771CD3}" dt="2023-09-21T08:01:08.115" v="15215" actId="478"/>
          <ac:spMkLst>
            <pc:docMk/>
            <pc:sldMk cId="115161503" sldId="2437"/>
            <ac:spMk id="3" creationId="{EFCDD523-F11D-D583-B9AA-25126CE0AB5A}"/>
          </ac:spMkLst>
        </pc:spChg>
        <pc:spChg chg="mod">
          <ac:chgData name="van Leeuwen  Sara (VPPL)" userId="7a5f1df4-0dd0-4c9e-a72f-a035cf318af6" providerId="ADAL" clId="{AAA37DE2-93D3-44F8-BE87-C19EC6771CD3}" dt="2023-09-21T07:58:43.840" v="4682" actId="947"/>
          <ac:spMkLst>
            <pc:docMk/>
            <pc:sldMk cId="115161503" sldId="2437"/>
            <ac:spMk id="4" creationId="{00000000-0000-0000-0000-000000000000}"/>
          </ac:spMkLst>
        </pc:spChg>
        <pc:spChg chg="mod">
          <ac:chgData name="van Leeuwen  Sara (VPPL)" userId="7a5f1df4-0dd0-4c9e-a72f-a035cf318af6" providerId="ADAL" clId="{AAA37DE2-93D3-44F8-BE87-C19EC6771CD3}" dt="2023-09-21T07:58:43.840" v="4686" actId="947"/>
          <ac:spMkLst>
            <pc:docMk/>
            <pc:sldMk cId="115161503" sldId="2437"/>
            <ac:spMk id="6" creationId="{00000000-0000-0000-0000-000000000000}"/>
          </ac:spMkLst>
        </pc:spChg>
        <pc:spChg chg="mod">
          <ac:chgData name="van Leeuwen  Sara (VPPL)" userId="7a5f1df4-0dd0-4c9e-a72f-a035cf318af6" providerId="ADAL" clId="{AAA37DE2-93D3-44F8-BE87-C19EC6771CD3}" dt="2023-09-21T07:58:43.855" v="4690" actId="947"/>
          <ac:spMkLst>
            <pc:docMk/>
            <pc:sldMk cId="115161503" sldId="2437"/>
            <ac:spMk id="9" creationId="{DAD87841-70CF-4F6D-B9E5-42EAA3A807C7}"/>
          </ac:spMkLst>
        </pc:spChg>
        <pc:spChg chg="mod">
          <ac:chgData name="van Leeuwen  Sara (VPPL)" userId="7a5f1df4-0dd0-4c9e-a72f-a035cf318af6" providerId="ADAL" clId="{AAA37DE2-93D3-44F8-BE87-C19EC6771CD3}" dt="2023-09-21T08:01:07.370" v="12505" actId="790"/>
          <ac:spMkLst>
            <pc:docMk/>
            <pc:sldMk cId="115161503" sldId="2437"/>
            <ac:spMk id="10" creationId="{00000000-0000-0000-0000-000000000000}"/>
          </ac:spMkLst>
        </pc:spChg>
        <pc:spChg chg="mod">
          <ac:chgData name="van Leeuwen  Sara (VPPL)" userId="7a5f1df4-0dd0-4c9e-a72f-a035cf318af6" providerId="ADAL" clId="{AAA37DE2-93D3-44F8-BE87-C19EC6771CD3}" dt="2023-09-21T08:01:07.370" v="12501" actId="790"/>
          <ac:spMkLst>
            <pc:docMk/>
            <pc:sldMk cId="115161503" sldId="2437"/>
            <ac:spMk id="12" creationId="{D75AFB06-C0D5-C44A-AFA0-9276A7192873}"/>
          </ac:spMkLst>
        </pc:spChg>
        <pc:spChg chg="mod">
          <ac:chgData name="van Leeuwen  Sara (VPPL)" userId="7a5f1df4-0dd0-4c9e-a72f-a035cf318af6" providerId="ADAL" clId="{AAA37DE2-93D3-44F8-BE87-C19EC6771CD3}" dt="2023-09-21T08:01:07.370" v="12509" actId="790"/>
          <ac:spMkLst>
            <pc:docMk/>
            <pc:sldMk cId="115161503" sldId="2437"/>
            <ac:spMk id="13" creationId="{395FE564-E77A-A062-6DE1-DDA7459467A2}"/>
          </ac:spMkLst>
        </pc:spChg>
        <pc:spChg chg="mod">
          <ac:chgData name="van Leeuwen  Sara (VPPL)" userId="7a5f1df4-0dd0-4c9e-a72f-a035cf318af6" providerId="ADAL" clId="{AAA37DE2-93D3-44F8-BE87-C19EC6771CD3}" dt="2023-09-21T08:01:07.370" v="12511" actId="790"/>
          <ac:spMkLst>
            <pc:docMk/>
            <pc:sldMk cId="115161503" sldId="2437"/>
            <ac:spMk id="14" creationId="{7528A58F-D640-34E7-6DA4-5A6CA1D82E0E}"/>
          </ac:spMkLst>
        </pc:spChg>
        <pc:graphicFrameChg chg="mod">
          <ac:chgData name="van Leeuwen  Sara (VPPL)" userId="7a5f1df4-0dd0-4c9e-a72f-a035cf318af6" providerId="ADAL" clId="{AAA37DE2-93D3-44F8-BE87-C19EC6771CD3}" dt="2023-09-21T08:01:08.282" v="15404"/>
          <ac:graphicFrameMkLst>
            <pc:docMk/>
            <pc:sldMk cId="115161503" sldId="2437"/>
            <ac:graphicFrameMk id="5" creationId="{6CD3BF2A-4B05-1D82-BE24-6EDADE277B81}"/>
          </ac:graphicFrameMkLst>
        </pc:graphicFrameChg>
        <pc:picChg chg="mod">
          <ac:chgData name="van Leeuwen  Sara (VPPL)" userId="7a5f1df4-0dd0-4c9e-a72f-a035cf318af6" providerId="ADAL" clId="{AAA37DE2-93D3-44F8-BE87-C19EC6771CD3}" dt="2023-09-20T12:17:33.259" v="1508" actId="1036"/>
          <ac:picMkLst>
            <pc:docMk/>
            <pc:sldMk cId="115161503" sldId="2437"/>
            <ac:picMk id="11" creationId="{ED7C954A-CDCB-8D6B-BD20-C0E69F383502}"/>
          </ac:picMkLst>
        </pc:picChg>
        <pc:picChg chg="mod">
          <ac:chgData name="van Leeuwen  Sara (VPPL)" userId="7a5f1df4-0dd0-4c9e-a72f-a035cf318af6" providerId="ADAL" clId="{AAA37DE2-93D3-44F8-BE87-C19EC6771CD3}" dt="2023-09-20T12:17:26.122" v="1507" actId="1076"/>
          <ac:picMkLst>
            <pc:docMk/>
            <pc:sldMk cId="115161503" sldId="2437"/>
            <ac:picMk id="26" creationId="{31E44439-1382-DDF9-F549-7C738C45232B}"/>
          </ac:picMkLst>
        </pc:picChg>
      </pc:sldChg>
      <pc:sldChg chg="addSp delSp modSp mod modNotes">
        <pc:chgData name="van Leeuwen  Sara (VPPL)" userId="7a5f1df4-0dd0-4c9e-a72f-a035cf318af6" providerId="ADAL" clId="{AAA37DE2-93D3-44F8-BE87-C19EC6771CD3}" dt="2023-09-21T08:01:08.297" v="15406"/>
        <pc:sldMkLst>
          <pc:docMk/>
          <pc:sldMk cId="2093043053" sldId="2438"/>
        </pc:sldMkLst>
        <pc:spChg chg="mod">
          <ac:chgData name="van Leeuwen  Sara (VPPL)" userId="7a5f1df4-0dd0-4c9e-a72f-a035cf318af6" providerId="ADAL" clId="{AAA37DE2-93D3-44F8-BE87-C19EC6771CD3}" dt="2023-09-21T08:01:07.590" v="13183" actId="948"/>
          <ac:spMkLst>
            <pc:docMk/>
            <pc:sldMk cId="2093043053" sldId="2438"/>
            <ac:spMk id="2" creationId="{00000000-0000-0000-0000-000000000000}"/>
          </ac:spMkLst>
        </pc:spChg>
        <pc:spChg chg="add del mod modVis">
          <ac:chgData name="van Leeuwen  Sara (VPPL)" userId="7a5f1df4-0dd0-4c9e-a72f-a035cf318af6" providerId="ADAL" clId="{AAA37DE2-93D3-44F8-BE87-C19EC6771CD3}" dt="2023-09-21T08:01:08.115" v="15217" actId="478"/>
          <ac:spMkLst>
            <pc:docMk/>
            <pc:sldMk cId="2093043053" sldId="2438"/>
            <ac:spMk id="3" creationId="{4FB6829D-10D5-BDC1-D8ED-5949D2CD59FE}"/>
          </ac:spMkLst>
        </pc:spChg>
        <pc:spChg chg="mod">
          <ac:chgData name="van Leeuwen  Sara (VPPL)" userId="7a5f1df4-0dd0-4c9e-a72f-a035cf318af6" providerId="ADAL" clId="{AAA37DE2-93D3-44F8-BE87-C19EC6771CD3}" dt="2023-09-21T07:58:43.824" v="4640" actId="947"/>
          <ac:spMkLst>
            <pc:docMk/>
            <pc:sldMk cId="2093043053" sldId="2438"/>
            <ac:spMk id="4" creationId="{00000000-0000-0000-0000-000000000000}"/>
          </ac:spMkLst>
        </pc:spChg>
        <pc:spChg chg="mod">
          <ac:chgData name="van Leeuwen  Sara (VPPL)" userId="7a5f1df4-0dd0-4c9e-a72f-a035cf318af6" providerId="ADAL" clId="{AAA37DE2-93D3-44F8-BE87-C19EC6771CD3}" dt="2023-09-21T07:58:43.824" v="4644" actId="947"/>
          <ac:spMkLst>
            <pc:docMk/>
            <pc:sldMk cId="2093043053" sldId="2438"/>
            <ac:spMk id="6" creationId="{00000000-0000-0000-0000-000000000000}"/>
          </ac:spMkLst>
        </pc:spChg>
        <pc:spChg chg="mod">
          <ac:chgData name="van Leeuwen  Sara (VPPL)" userId="7a5f1df4-0dd0-4c9e-a72f-a035cf318af6" providerId="ADAL" clId="{AAA37DE2-93D3-44F8-BE87-C19EC6771CD3}" dt="2023-09-21T08:01:07.354" v="12459" actId="790"/>
          <ac:spMkLst>
            <pc:docMk/>
            <pc:sldMk cId="2093043053" sldId="2438"/>
            <ac:spMk id="8" creationId="{D75AFB06-C0D5-C44A-AFA0-9276A7192873}"/>
          </ac:spMkLst>
        </pc:spChg>
        <pc:spChg chg="mod">
          <ac:chgData name="van Leeuwen  Sara (VPPL)" userId="7a5f1df4-0dd0-4c9e-a72f-a035cf318af6" providerId="ADAL" clId="{AAA37DE2-93D3-44F8-BE87-C19EC6771CD3}" dt="2023-09-21T08:01:07.354" v="12456" actId="20577"/>
          <ac:spMkLst>
            <pc:docMk/>
            <pc:sldMk cId="2093043053" sldId="2438"/>
            <ac:spMk id="9" creationId="{B6B24EFB-329E-4BDB-8682-2837E8093CA9}"/>
          </ac:spMkLst>
        </pc:spChg>
        <pc:spChg chg="mod">
          <ac:chgData name="van Leeuwen  Sara (VPPL)" userId="7a5f1df4-0dd0-4c9e-a72f-a035cf318af6" providerId="ADAL" clId="{AAA37DE2-93D3-44F8-BE87-C19EC6771CD3}" dt="2023-09-21T07:58:43.840" v="4678" actId="947"/>
          <ac:spMkLst>
            <pc:docMk/>
            <pc:sldMk cId="2093043053" sldId="2438"/>
            <ac:spMk id="11" creationId="{5EE19B10-BD32-4855-BF14-2D427D1BFDF4}"/>
          </ac:spMkLst>
        </pc:spChg>
        <pc:graphicFrameChg chg="mod">
          <ac:chgData name="van Leeuwen  Sara (VPPL)" userId="7a5f1df4-0dd0-4c9e-a72f-a035cf318af6" providerId="ADAL" clId="{AAA37DE2-93D3-44F8-BE87-C19EC6771CD3}" dt="2023-09-21T08:01:08.297" v="15406"/>
          <ac:graphicFrameMkLst>
            <pc:docMk/>
            <pc:sldMk cId="2093043053" sldId="2438"/>
            <ac:graphicFrameMk id="5" creationId="{4EFD790E-C509-15F3-A548-0254A67D74B6}"/>
          </ac:graphicFrameMkLst>
        </pc:graphicFrameChg>
        <pc:graphicFrameChg chg="modGraphic">
          <ac:chgData name="van Leeuwen  Sara (VPPL)" userId="7a5f1df4-0dd0-4c9e-a72f-a035cf318af6" providerId="ADAL" clId="{AAA37DE2-93D3-44F8-BE87-C19EC6771CD3}" dt="2023-09-21T07:58:43.840" v="4676" actId="947"/>
          <ac:graphicFrameMkLst>
            <pc:docMk/>
            <pc:sldMk cId="2093043053" sldId="2438"/>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297" v="15408"/>
        <pc:sldMkLst>
          <pc:docMk/>
          <pc:sldMk cId="2894523313" sldId="2439"/>
        </pc:sldMkLst>
        <pc:spChg chg="mod">
          <ac:chgData name="van Leeuwen  Sara (VPPL)" userId="7a5f1df4-0dd0-4c9e-a72f-a035cf318af6" providerId="ADAL" clId="{AAA37DE2-93D3-44F8-BE87-C19EC6771CD3}" dt="2023-09-21T08:01:07.590" v="13219" actId="948"/>
          <ac:spMkLst>
            <pc:docMk/>
            <pc:sldMk cId="2894523313" sldId="2439"/>
            <ac:spMk id="2" creationId="{00000000-0000-0000-0000-000000000000}"/>
          </ac:spMkLst>
        </pc:spChg>
        <pc:spChg chg="add del mod modVis">
          <ac:chgData name="van Leeuwen  Sara (VPPL)" userId="7a5f1df4-0dd0-4c9e-a72f-a035cf318af6" providerId="ADAL" clId="{AAA37DE2-93D3-44F8-BE87-C19EC6771CD3}" dt="2023-09-21T08:01:08.115" v="15219" actId="478"/>
          <ac:spMkLst>
            <pc:docMk/>
            <pc:sldMk cId="2894523313" sldId="2439"/>
            <ac:spMk id="3" creationId="{7A77A964-8DDF-423C-FE48-C57C8645FC7D}"/>
          </ac:spMkLst>
        </pc:spChg>
        <pc:spChg chg="mod">
          <ac:chgData name="van Leeuwen  Sara (VPPL)" userId="7a5f1df4-0dd0-4c9e-a72f-a035cf318af6" providerId="ADAL" clId="{AAA37DE2-93D3-44F8-BE87-C19EC6771CD3}" dt="2023-09-21T07:58:43.871" v="4702" actId="947"/>
          <ac:spMkLst>
            <pc:docMk/>
            <pc:sldMk cId="2894523313" sldId="2439"/>
            <ac:spMk id="4" creationId="{00000000-0000-0000-0000-000000000000}"/>
          </ac:spMkLst>
        </pc:spChg>
        <pc:spChg chg="mod">
          <ac:chgData name="van Leeuwen  Sara (VPPL)" userId="7a5f1df4-0dd0-4c9e-a72f-a035cf318af6" providerId="ADAL" clId="{AAA37DE2-93D3-44F8-BE87-C19EC6771CD3}" dt="2023-09-21T07:58:43.871" v="4706" actId="947"/>
          <ac:spMkLst>
            <pc:docMk/>
            <pc:sldMk cId="2894523313" sldId="2439"/>
            <ac:spMk id="6" creationId="{00000000-0000-0000-0000-000000000000}"/>
          </ac:spMkLst>
        </pc:spChg>
        <pc:spChg chg="mod">
          <ac:chgData name="van Leeuwen  Sara (VPPL)" userId="7a5f1df4-0dd0-4c9e-a72f-a035cf318af6" providerId="ADAL" clId="{AAA37DE2-93D3-44F8-BE87-C19EC6771CD3}" dt="2023-09-21T08:01:07.370" v="12521" actId="790"/>
          <ac:spMkLst>
            <pc:docMk/>
            <pc:sldMk cId="2894523313" sldId="2439"/>
            <ac:spMk id="8" creationId="{D75AFB06-C0D5-C44A-AFA0-9276A7192873}"/>
          </ac:spMkLst>
        </pc:spChg>
        <pc:spChg chg="mod">
          <ac:chgData name="van Leeuwen  Sara (VPPL)" userId="7a5f1df4-0dd0-4c9e-a72f-a035cf318af6" providerId="ADAL" clId="{AAA37DE2-93D3-44F8-BE87-C19EC6771CD3}" dt="2023-09-21T08:01:07.370" v="12518" actId="20577"/>
          <ac:spMkLst>
            <pc:docMk/>
            <pc:sldMk cId="2894523313" sldId="2439"/>
            <ac:spMk id="9" creationId="{B6B24EFB-329E-4BDB-8682-2837E8093CA9}"/>
          </ac:spMkLst>
        </pc:spChg>
        <pc:spChg chg="mod">
          <ac:chgData name="van Leeuwen  Sara (VPPL)" userId="7a5f1df4-0dd0-4c9e-a72f-a035cf318af6" providerId="ADAL" clId="{AAA37DE2-93D3-44F8-BE87-C19EC6771CD3}" dt="2023-09-21T07:58:43.887" v="4740" actId="947"/>
          <ac:spMkLst>
            <pc:docMk/>
            <pc:sldMk cId="2894523313" sldId="2439"/>
            <ac:spMk id="11" creationId="{5EE19B10-BD32-4855-BF14-2D427D1BFDF4}"/>
          </ac:spMkLst>
        </pc:spChg>
        <pc:graphicFrameChg chg="mod">
          <ac:chgData name="van Leeuwen  Sara (VPPL)" userId="7a5f1df4-0dd0-4c9e-a72f-a035cf318af6" providerId="ADAL" clId="{AAA37DE2-93D3-44F8-BE87-C19EC6771CD3}" dt="2023-09-21T08:01:08.297" v="15408"/>
          <ac:graphicFrameMkLst>
            <pc:docMk/>
            <pc:sldMk cId="2894523313" sldId="2439"/>
            <ac:graphicFrameMk id="5" creationId="{4EFD790E-C509-15F3-A548-0254A67D74B6}"/>
          </ac:graphicFrameMkLst>
        </pc:graphicFrameChg>
        <pc:graphicFrameChg chg="modGraphic">
          <ac:chgData name="van Leeuwen  Sara (VPPL)" userId="7a5f1df4-0dd0-4c9e-a72f-a035cf318af6" providerId="ADAL" clId="{AAA37DE2-93D3-44F8-BE87-C19EC6771CD3}" dt="2023-09-21T07:58:43.887" v="4738" actId="947"/>
          <ac:graphicFrameMkLst>
            <pc:docMk/>
            <pc:sldMk cId="2894523313" sldId="2439"/>
            <ac:graphicFrameMk id="10" creationId="{9B7E8B9D-5F9A-4F11-B14F-FECAB6CF2579}"/>
          </ac:graphicFrameMkLst>
        </pc:graphicFrameChg>
      </pc:sldChg>
      <pc:sldChg chg="addSp delSp modSp del mod">
        <pc:chgData name="van Leeuwen  Sara (VPPL)" userId="7a5f1df4-0dd0-4c9e-a72f-a035cf318af6" providerId="ADAL" clId="{AAA37DE2-93D3-44F8-BE87-C19EC6771CD3}" dt="2023-09-20T14:15:03.084" v="2992" actId="47"/>
        <pc:sldMkLst>
          <pc:docMk/>
          <pc:sldMk cId="1561310458" sldId="2440"/>
        </pc:sldMkLst>
        <pc:spChg chg="mod">
          <ac:chgData name="van Leeuwen  Sara (VPPL)" userId="7a5f1df4-0dd0-4c9e-a72f-a035cf318af6" providerId="ADAL" clId="{AAA37DE2-93D3-44F8-BE87-C19EC6771CD3}" dt="2023-09-20T13:49:32.962" v="2169" actId="948"/>
          <ac:spMkLst>
            <pc:docMk/>
            <pc:sldMk cId="1561310458" sldId="2440"/>
            <ac:spMk id="2" creationId="{00000000-0000-0000-0000-000000000000}"/>
          </ac:spMkLst>
        </pc:spChg>
        <pc:spChg chg="add del mod modVis">
          <ac:chgData name="van Leeuwen  Sara (VPPL)" userId="7a5f1df4-0dd0-4c9e-a72f-a035cf318af6" providerId="ADAL" clId="{AAA37DE2-93D3-44F8-BE87-C19EC6771CD3}" dt="2023-09-20T13:49:26.590" v="2117"/>
          <ac:spMkLst>
            <pc:docMk/>
            <pc:sldMk cId="1561310458" sldId="2440"/>
            <ac:spMk id="7" creationId="{30D8BCA9-2B26-1518-B373-E4D27E9BE930}"/>
          </ac:spMkLst>
        </pc:spChg>
        <pc:spChg chg="add del mod modVis">
          <ac:chgData name="van Leeuwen  Sara (VPPL)" userId="7a5f1df4-0dd0-4c9e-a72f-a035cf318af6" providerId="ADAL" clId="{AAA37DE2-93D3-44F8-BE87-C19EC6771CD3}" dt="2023-09-20T13:49:31.901" v="2163"/>
          <ac:spMkLst>
            <pc:docMk/>
            <pc:sldMk cId="1561310458" sldId="2440"/>
            <ac:spMk id="11" creationId="{008E6748-1E74-1DB8-2138-54A162B98D51}"/>
          </ac:spMkLst>
        </pc:spChg>
        <pc:spChg chg="add del mod modVis">
          <ac:chgData name="van Leeuwen  Sara (VPPL)" userId="7a5f1df4-0dd0-4c9e-a72f-a035cf318af6" providerId="ADAL" clId="{AAA37DE2-93D3-44F8-BE87-C19EC6771CD3}" dt="2023-09-20T13:49:32.987" v="2210"/>
          <ac:spMkLst>
            <pc:docMk/>
            <pc:sldMk cId="1561310458" sldId="2440"/>
            <ac:spMk id="12" creationId="{58D1CC22-3B78-BCBE-CEF2-8DECC799C4A0}"/>
          </ac:spMkLst>
        </pc:spChg>
        <pc:graphicFrameChg chg="mod">
          <ac:chgData name="van Leeuwen  Sara (VPPL)" userId="7a5f1df4-0dd0-4c9e-a72f-a035cf318af6" providerId="ADAL" clId="{AAA37DE2-93D3-44F8-BE87-C19EC6771CD3}" dt="2023-09-20T13:49:32.987" v="2212"/>
          <ac:graphicFrameMkLst>
            <pc:docMk/>
            <pc:sldMk cId="1561310458" sldId="2440"/>
            <ac:graphicFrameMk id="5" creationId="{4EFD790E-C509-15F3-A548-0254A67D74B6}"/>
          </ac:graphicFrameMkLst>
        </pc:graphicFrameChg>
        <pc:graphicFrameChg chg="modGraphic">
          <ac:chgData name="van Leeuwen  Sara (VPPL)" userId="7a5f1df4-0dd0-4c9e-a72f-a035cf318af6" providerId="ADAL" clId="{AAA37DE2-93D3-44F8-BE87-C19EC6771CD3}" dt="2023-09-20T13:49:08.101" v="2073" actId="20577"/>
          <ac:graphicFrameMkLst>
            <pc:docMk/>
            <pc:sldMk cId="1561310458" sldId="2440"/>
            <ac:graphicFrameMk id="10" creationId="{9B7E8B9D-5F9A-4F11-B14F-FECAB6CF2579}"/>
          </ac:graphicFrameMkLst>
        </pc:graphicFrameChg>
      </pc:sldChg>
      <pc:sldChg chg="addSp delSp modSp mod modNotes">
        <pc:chgData name="van Leeuwen  Sara (VPPL)" userId="7a5f1df4-0dd0-4c9e-a72f-a035cf318af6" providerId="ADAL" clId="{AAA37DE2-93D3-44F8-BE87-C19EC6771CD3}" dt="2023-09-21T08:01:08.407" v="15466"/>
        <pc:sldMkLst>
          <pc:docMk/>
          <pc:sldMk cId="3420152249" sldId="2442"/>
        </pc:sldMkLst>
        <pc:spChg chg="mod">
          <ac:chgData name="van Leeuwen  Sara (VPPL)" userId="7a5f1df4-0dd0-4c9e-a72f-a035cf318af6" providerId="ADAL" clId="{AAA37DE2-93D3-44F8-BE87-C19EC6771CD3}" dt="2023-09-21T08:01:08.093" v="15173" actId="948"/>
          <ac:spMkLst>
            <pc:docMk/>
            <pc:sldMk cId="3420152249" sldId="2442"/>
            <ac:spMk id="2" creationId="{00000000-0000-0000-0000-000000000000}"/>
          </ac:spMkLst>
        </pc:spChg>
        <pc:spChg chg="mod">
          <ac:chgData name="van Leeuwen  Sara (VPPL)" userId="7a5f1df4-0dd0-4c9e-a72f-a035cf318af6" providerId="ADAL" clId="{AAA37DE2-93D3-44F8-BE87-C19EC6771CD3}" dt="2023-09-21T08:01:07.354" v="12439" actId="790"/>
          <ac:spMkLst>
            <pc:docMk/>
            <pc:sldMk cId="3420152249" sldId="2442"/>
            <ac:spMk id="3" creationId="{DA9D408E-409A-09DE-FA88-268F95DF1BEC}"/>
          </ac:spMkLst>
        </pc:spChg>
        <pc:spChg chg="mod">
          <ac:chgData name="van Leeuwen  Sara (VPPL)" userId="7a5f1df4-0dd0-4c9e-a72f-a035cf318af6" providerId="ADAL" clId="{AAA37DE2-93D3-44F8-BE87-C19EC6771CD3}" dt="2023-09-21T07:58:43.776" v="4608" actId="947"/>
          <ac:spMkLst>
            <pc:docMk/>
            <pc:sldMk cId="3420152249" sldId="2442"/>
            <ac:spMk id="4" creationId="{00000000-0000-0000-0000-000000000000}"/>
          </ac:spMkLst>
        </pc:spChg>
        <pc:spChg chg="mod">
          <ac:chgData name="van Leeuwen  Sara (VPPL)" userId="7a5f1df4-0dd0-4c9e-a72f-a035cf318af6" providerId="ADAL" clId="{AAA37DE2-93D3-44F8-BE87-C19EC6771CD3}" dt="2023-09-21T07:58:43.776" v="4612" actId="947"/>
          <ac:spMkLst>
            <pc:docMk/>
            <pc:sldMk cId="3420152249" sldId="2442"/>
            <ac:spMk id="6" creationId="{00000000-0000-0000-0000-000000000000}"/>
          </ac:spMkLst>
        </pc:spChg>
        <pc:spChg chg="add del mod modVis">
          <ac:chgData name="van Leeuwen  Sara (VPPL)" userId="7a5f1df4-0dd0-4c9e-a72f-a035cf318af6" providerId="ADAL" clId="{AAA37DE2-93D3-44F8-BE87-C19EC6771CD3}" dt="2023-09-21T08:01:08.141" v="15333" actId="478"/>
          <ac:spMkLst>
            <pc:docMk/>
            <pc:sldMk cId="3420152249" sldId="2442"/>
            <ac:spMk id="7" creationId="{A8013A73-A06B-42C5-8B47-3813BA80A94C}"/>
          </ac:spMkLst>
        </pc:spChg>
        <pc:spChg chg="add del mod modVis">
          <ac:chgData name="van Leeuwen  Sara (VPPL)" userId="7a5f1df4-0dd0-4c9e-a72f-a035cf318af6" providerId="ADAL" clId="{AAA37DE2-93D3-44F8-BE87-C19EC6771CD3}" dt="2023-09-20T12:11:35.766" v="618"/>
          <ac:spMkLst>
            <pc:docMk/>
            <pc:sldMk cId="3420152249" sldId="2442"/>
            <ac:spMk id="7" creationId="{DA73FA87-B87D-36A6-C00E-164FDAD1F119}"/>
          </ac:spMkLst>
        </pc:spChg>
        <pc:spChg chg="add del mod modVis">
          <ac:chgData name="van Leeuwen  Sara (VPPL)" userId="7a5f1df4-0dd0-4c9e-a72f-a035cf318af6" providerId="ADAL" clId="{AAA37DE2-93D3-44F8-BE87-C19EC6771CD3}" dt="2023-09-20T12:11:38.789" v="701"/>
          <ac:spMkLst>
            <pc:docMk/>
            <pc:sldMk cId="3420152249" sldId="2442"/>
            <ac:spMk id="8" creationId="{68C3A387-7196-CC58-98C9-9E3C1B36DA8E}"/>
          </ac:spMkLst>
        </pc:spChg>
        <pc:spChg chg="mod">
          <ac:chgData name="van Leeuwen  Sara (VPPL)" userId="7a5f1df4-0dd0-4c9e-a72f-a035cf318af6" providerId="ADAL" clId="{AAA37DE2-93D3-44F8-BE87-C19EC6771CD3}" dt="2023-09-21T07:58:43.776" v="4614" actId="947"/>
          <ac:spMkLst>
            <pc:docMk/>
            <pc:sldMk cId="3420152249" sldId="2442"/>
            <ac:spMk id="9" creationId="{DAD87841-70CF-4F6D-B9E5-42EAA3A807C7}"/>
          </ac:spMkLst>
        </pc:spChg>
        <pc:spChg chg="add del mod modVis">
          <ac:chgData name="van Leeuwen  Sara (VPPL)" userId="7a5f1df4-0dd0-4c9e-a72f-a035cf318af6" providerId="ADAL" clId="{AAA37DE2-93D3-44F8-BE87-C19EC6771CD3}" dt="2023-09-20T12:11:40.427" v="778"/>
          <ac:spMkLst>
            <pc:docMk/>
            <pc:sldMk cId="3420152249" sldId="2442"/>
            <ac:spMk id="10" creationId="{768546DF-C3BC-8279-30FA-F2902C2EB5FD}"/>
          </ac:spMkLst>
        </pc:spChg>
        <pc:spChg chg="add del mod modVis">
          <ac:chgData name="van Leeuwen  Sara (VPPL)" userId="7a5f1df4-0dd0-4c9e-a72f-a035cf318af6" providerId="ADAL" clId="{AAA37DE2-93D3-44F8-BE87-C19EC6771CD3}" dt="2023-09-20T12:11:41.125" v="854"/>
          <ac:spMkLst>
            <pc:docMk/>
            <pc:sldMk cId="3420152249" sldId="2442"/>
            <ac:spMk id="11" creationId="{C8DEF1A7-4579-57AB-ABEE-EEB52F4D53AB}"/>
          </ac:spMkLst>
        </pc:spChg>
        <pc:spChg chg="mod">
          <ac:chgData name="van Leeuwen  Sara (VPPL)" userId="7a5f1df4-0dd0-4c9e-a72f-a035cf318af6" providerId="ADAL" clId="{AAA37DE2-93D3-44F8-BE87-C19EC6771CD3}" dt="2023-09-21T08:01:07.354" v="12427" actId="790"/>
          <ac:spMkLst>
            <pc:docMk/>
            <pc:sldMk cId="3420152249" sldId="2442"/>
            <ac:spMk id="12" creationId="{D75AFB06-C0D5-C44A-AFA0-9276A7192873}"/>
          </ac:spMkLst>
        </pc:spChg>
        <pc:spChg chg="add del mod modVis">
          <ac:chgData name="van Leeuwen  Sara (VPPL)" userId="7a5f1df4-0dd0-4c9e-a72f-a035cf318af6" providerId="ADAL" clId="{AAA37DE2-93D3-44F8-BE87-C19EC6771CD3}" dt="2023-09-20T12:11:43.952" v="943"/>
          <ac:spMkLst>
            <pc:docMk/>
            <pc:sldMk cId="3420152249" sldId="2442"/>
            <ac:spMk id="13" creationId="{B280DC90-96EC-4EA8-A9A4-EDCDA28F554A}"/>
          </ac:spMkLst>
        </pc:spChg>
        <pc:spChg chg="add del mod modVis">
          <ac:chgData name="van Leeuwen  Sara (VPPL)" userId="7a5f1df4-0dd0-4c9e-a72f-a035cf318af6" providerId="ADAL" clId="{AAA37DE2-93D3-44F8-BE87-C19EC6771CD3}" dt="2023-09-20T12:11:48.250" v="1003"/>
          <ac:spMkLst>
            <pc:docMk/>
            <pc:sldMk cId="3420152249" sldId="2442"/>
            <ac:spMk id="14" creationId="{7B83407E-AADF-1A5A-ABB7-408BE0F834B9}"/>
          </ac:spMkLst>
        </pc:spChg>
        <pc:spChg chg="add del mod modVis">
          <ac:chgData name="van Leeuwen  Sara (VPPL)" userId="7a5f1df4-0dd0-4c9e-a72f-a035cf318af6" providerId="ADAL" clId="{AAA37DE2-93D3-44F8-BE87-C19EC6771CD3}" dt="2023-09-20T12:12:41.761" v="1114"/>
          <ac:spMkLst>
            <pc:docMk/>
            <pc:sldMk cId="3420152249" sldId="2442"/>
            <ac:spMk id="15" creationId="{CD03D26F-7DB3-7DAD-AC0B-48B7C854EEF6}"/>
          </ac:spMkLst>
        </pc:spChg>
        <pc:spChg chg="mod">
          <ac:chgData name="van Leeuwen  Sara (VPPL)" userId="7a5f1df4-0dd0-4c9e-a72f-a035cf318af6" providerId="ADAL" clId="{AAA37DE2-93D3-44F8-BE87-C19EC6771CD3}" dt="2023-09-21T08:01:07.354" v="12433" actId="790"/>
          <ac:spMkLst>
            <pc:docMk/>
            <pc:sldMk cId="3420152249" sldId="2442"/>
            <ac:spMk id="19" creationId="{A0AA57D8-6525-B82E-1C62-1D086A2C61F0}"/>
          </ac:spMkLst>
        </pc:spChg>
        <pc:spChg chg="mod">
          <ac:chgData name="van Leeuwen  Sara (VPPL)" userId="7a5f1df4-0dd0-4c9e-a72f-a035cf318af6" providerId="ADAL" clId="{AAA37DE2-93D3-44F8-BE87-C19EC6771CD3}" dt="2023-09-21T08:01:07.354" v="12435" actId="790"/>
          <ac:spMkLst>
            <pc:docMk/>
            <pc:sldMk cId="3420152249" sldId="2442"/>
            <ac:spMk id="20" creationId="{CF7B0E3C-915D-6129-4612-FFB31E8E9DE1}"/>
          </ac:spMkLst>
        </pc:spChg>
        <pc:spChg chg="mod">
          <ac:chgData name="van Leeuwen  Sara (VPPL)" userId="7a5f1df4-0dd0-4c9e-a72f-a035cf318af6" providerId="ADAL" clId="{AAA37DE2-93D3-44F8-BE87-C19EC6771CD3}" dt="2023-09-21T08:01:07.354" v="12437" actId="790"/>
          <ac:spMkLst>
            <pc:docMk/>
            <pc:sldMk cId="3420152249" sldId="2442"/>
            <ac:spMk id="24" creationId="{75D38813-0E3F-5E16-F430-0CD6F710989C}"/>
          </ac:spMkLst>
        </pc:spChg>
        <pc:graphicFrameChg chg="mod">
          <ac:chgData name="van Leeuwen  Sara (VPPL)" userId="7a5f1df4-0dd0-4c9e-a72f-a035cf318af6" providerId="ADAL" clId="{AAA37DE2-93D3-44F8-BE87-C19EC6771CD3}" dt="2023-09-21T08:01:08.407" v="15466"/>
          <ac:graphicFrameMkLst>
            <pc:docMk/>
            <pc:sldMk cId="3420152249" sldId="2442"/>
            <ac:graphicFrameMk id="5" creationId="{6CD3BF2A-4B05-1D82-BE24-6EDADE277B81}"/>
          </ac:graphicFrameMkLst>
        </pc:graphicFrameChg>
      </pc:sldChg>
      <pc:sldChg chg="addSp delSp modSp mod modNotes">
        <pc:chgData name="van Leeuwen  Sara (VPPL)" userId="7a5f1df4-0dd0-4c9e-a72f-a035cf318af6" providerId="ADAL" clId="{AAA37DE2-93D3-44F8-BE87-C19EC6771CD3}" dt="2023-09-21T08:01:08.392" v="15458"/>
        <pc:sldMkLst>
          <pc:docMk/>
          <pc:sldMk cId="3191170877" sldId="2443"/>
        </pc:sldMkLst>
        <pc:spChg chg="mod">
          <ac:chgData name="van Leeuwen  Sara (VPPL)" userId="7a5f1df4-0dd0-4c9e-a72f-a035cf318af6" providerId="ADAL" clId="{AAA37DE2-93D3-44F8-BE87-C19EC6771CD3}" dt="2023-09-21T08:01:08.078" v="15100" actId="948"/>
          <ac:spMkLst>
            <pc:docMk/>
            <pc:sldMk cId="3191170877" sldId="2443"/>
            <ac:spMk id="2" creationId="{690BD18C-4CB3-58F7-B41A-F4746B7DAA6D}"/>
          </ac:spMkLst>
        </pc:spChg>
        <pc:spChg chg="mod">
          <ac:chgData name="van Leeuwen  Sara (VPPL)" userId="7a5f1df4-0dd0-4c9e-a72f-a035cf318af6" providerId="ADAL" clId="{AAA37DE2-93D3-44F8-BE87-C19EC6771CD3}" dt="2023-09-21T08:01:07.338" v="12395" actId="790"/>
          <ac:spMkLst>
            <pc:docMk/>
            <pc:sldMk cId="3191170877" sldId="2443"/>
            <ac:spMk id="3" creationId="{74ABCEC1-985B-1C66-2D33-43D74A38B600}"/>
          </ac:spMkLst>
        </pc:spChg>
        <pc:spChg chg="mod">
          <ac:chgData name="van Leeuwen  Sara (VPPL)" userId="7a5f1df4-0dd0-4c9e-a72f-a035cf318af6" providerId="ADAL" clId="{AAA37DE2-93D3-44F8-BE87-C19EC6771CD3}" dt="2023-09-21T07:58:43.745" v="4580" actId="947"/>
          <ac:spMkLst>
            <pc:docMk/>
            <pc:sldMk cId="3191170877" sldId="2443"/>
            <ac:spMk id="4" creationId="{9670A952-0139-987A-EC8F-4073EDA64600}"/>
          </ac:spMkLst>
        </pc:spChg>
        <pc:spChg chg="mod">
          <ac:chgData name="van Leeuwen  Sara (VPPL)" userId="7a5f1df4-0dd0-4c9e-a72f-a035cf318af6" providerId="ADAL" clId="{AAA37DE2-93D3-44F8-BE87-C19EC6771CD3}" dt="2023-09-21T08:01:07.338" v="12399" actId="790"/>
          <ac:spMkLst>
            <pc:docMk/>
            <pc:sldMk cId="3191170877" sldId="2443"/>
            <ac:spMk id="5" creationId="{E73758D5-CF6A-FFB7-8257-04B99498E9F0}"/>
          </ac:spMkLst>
        </pc:spChg>
        <pc:spChg chg="mod">
          <ac:chgData name="van Leeuwen  Sara (VPPL)" userId="7a5f1df4-0dd0-4c9e-a72f-a035cf318af6" providerId="ADAL" clId="{AAA37DE2-93D3-44F8-BE87-C19EC6771CD3}" dt="2023-09-21T07:58:43.745" v="4584" actId="947"/>
          <ac:spMkLst>
            <pc:docMk/>
            <pc:sldMk cId="3191170877" sldId="2443"/>
            <ac:spMk id="6" creationId="{6EFA5949-A927-7AC7-C6ED-10D752493660}"/>
          </ac:spMkLst>
        </pc:spChg>
        <pc:spChg chg="add del mod modVis">
          <ac:chgData name="van Leeuwen  Sara (VPPL)" userId="7a5f1df4-0dd0-4c9e-a72f-a035cf318af6" providerId="ADAL" clId="{AAA37DE2-93D3-44F8-BE87-C19EC6771CD3}" dt="2023-09-21T08:01:08.141" v="15327" actId="478"/>
          <ac:spMkLst>
            <pc:docMk/>
            <pc:sldMk cId="3191170877" sldId="2443"/>
            <ac:spMk id="7" creationId="{5E279767-987C-C0B3-81A3-4B7C2D2305D0}"/>
          </ac:spMkLst>
        </pc:spChg>
        <pc:spChg chg="add del mod modVis">
          <ac:chgData name="van Leeuwen  Sara (VPPL)" userId="7a5f1df4-0dd0-4c9e-a72f-a035cf318af6" providerId="ADAL" clId="{AAA37DE2-93D3-44F8-BE87-C19EC6771CD3}" dt="2023-09-20T12:11:11.931" v="325"/>
          <ac:spMkLst>
            <pc:docMk/>
            <pc:sldMk cId="3191170877" sldId="2443"/>
            <ac:spMk id="7" creationId="{CF272EBE-85A7-C29D-09F4-D48C41E633EE}"/>
          </ac:spMkLst>
        </pc:spChg>
        <pc:spChg chg="add del mod modVis">
          <ac:chgData name="van Leeuwen  Sara (VPPL)" userId="7a5f1df4-0dd0-4c9e-a72f-a035cf318af6" providerId="ADAL" clId="{AAA37DE2-93D3-44F8-BE87-C19EC6771CD3}" dt="2023-09-20T12:11:16.227" v="405"/>
          <ac:spMkLst>
            <pc:docMk/>
            <pc:sldMk cId="3191170877" sldId="2443"/>
            <ac:spMk id="9" creationId="{AEBA2A29-0C70-503E-059B-7BE46E879BE6}"/>
          </ac:spMkLst>
        </pc:spChg>
        <pc:spChg chg="add del mod modVis">
          <ac:chgData name="van Leeuwen  Sara (VPPL)" userId="7a5f1df4-0dd0-4c9e-a72f-a035cf318af6" providerId="ADAL" clId="{AAA37DE2-93D3-44F8-BE87-C19EC6771CD3}" dt="2023-09-20T12:11:17.174" v="482"/>
          <ac:spMkLst>
            <pc:docMk/>
            <pc:sldMk cId="3191170877" sldId="2443"/>
            <ac:spMk id="10" creationId="{61A11D76-983E-389D-FE74-83F99F052BAF}"/>
          </ac:spMkLst>
        </pc:spChg>
        <pc:spChg chg="add del mod modVis">
          <ac:chgData name="van Leeuwen  Sara (VPPL)" userId="7a5f1df4-0dd0-4c9e-a72f-a035cf318af6" providerId="ADAL" clId="{AAA37DE2-93D3-44F8-BE87-C19EC6771CD3}" dt="2023-09-20T12:11:23.015" v="542"/>
          <ac:spMkLst>
            <pc:docMk/>
            <pc:sldMk cId="3191170877" sldId="2443"/>
            <ac:spMk id="11" creationId="{4EE47623-79E5-5163-467B-7937FFD7DEC6}"/>
          </ac:spMkLst>
        </pc:spChg>
        <pc:spChg chg="add del mod modVis">
          <ac:chgData name="van Leeuwen  Sara (VPPL)" userId="7a5f1df4-0dd0-4c9e-a72f-a035cf318af6" providerId="ADAL" clId="{AAA37DE2-93D3-44F8-BE87-C19EC6771CD3}" dt="2023-09-20T12:12:38.440" v="1069"/>
          <ac:spMkLst>
            <pc:docMk/>
            <pc:sldMk cId="3191170877" sldId="2443"/>
            <ac:spMk id="12" creationId="{787ECF8B-5639-C721-6FDA-247CCE1DECC1}"/>
          </ac:spMkLst>
        </pc:spChg>
        <pc:graphicFrameChg chg="mod">
          <ac:chgData name="van Leeuwen  Sara (VPPL)" userId="7a5f1df4-0dd0-4c9e-a72f-a035cf318af6" providerId="ADAL" clId="{AAA37DE2-93D3-44F8-BE87-C19EC6771CD3}" dt="2023-09-21T08:01:08.392" v="15458"/>
          <ac:graphicFrameMkLst>
            <pc:docMk/>
            <pc:sldMk cId="3191170877" sldId="2443"/>
            <ac:graphicFrameMk id="8" creationId="{FF86D724-693B-0D9D-47EA-2D497893D3B1}"/>
          </ac:graphicFrameMkLst>
        </pc:graphicFrameChg>
        <pc:picChg chg="add mod">
          <ac:chgData name="van Leeuwen  Sara (VPPL)" userId="7a5f1df4-0dd0-4c9e-a72f-a035cf318af6" providerId="ADAL" clId="{AAA37DE2-93D3-44F8-BE87-C19EC6771CD3}" dt="2023-09-20T13:42:57.902" v="1739" actId="27614"/>
          <ac:picMkLst>
            <pc:docMk/>
            <pc:sldMk cId="3191170877" sldId="2443"/>
            <ac:picMk id="9" creationId="{B6B98562-4770-4F0F-3571-C6BF8AAE4F13}"/>
          </ac:picMkLst>
        </pc:picChg>
        <pc:picChg chg="del">
          <ac:chgData name="van Leeuwen  Sara (VPPL)" userId="7a5f1df4-0dd0-4c9e-a72f-a035cf318af6" providerId="ADAL" clId="{AAA37DE2-93D3-44F8-BE87-C19EC6771CD3}" dt="2023-09-20T13:34:50.457" v="1703" actId="21"/>
          <ac:picMkLst>
            <pc:docMk/>
            <pc:sldMk cId="3191170877" sldId="2443"/>
            <ac:picMk id="13" creationId="{92ADF850-A62D-53A7-659C-2F95888667A6}"/>
          </ac:picMkLst>
        </pc:picChg>
        <pc:picChg chg="del">
          <ac:chgData name="van Leeuwen  Sara (VPPL)" userId="7a5f1df4-0dd0-4c9e-a72f-a035cf318af6" providerId="ADAL" clId="{AAA37DE2-93D3-44F8-BE87-C19EC6771CD3}" dt="2023-09-20T13:34:50.457" v="1703" actId="21"/>
          <ac:picMkLst>
            <pc:docMk/>
            <pc:sldMk cId="3191170877" sldId="2443"/>
            <ac:picMk id="14" creationId="{87F4E5DE-EE39-83A8-1A0C-CC5591CAB76B}"/>
          </ac:picMkLst>
        </pc:picChg>
        <pc:picChg chg="del">
          <ac:chgData name="van Leeuwen  Sara (VPPL)" userId="7a5f1df4-0dd0-4c9e-a72f-a035cf318af6" providerId="ADAL" clId="{AAA37DE2-93D3-44F8-BE87-C19EC6771CD3}" dt="2023-09-20T13:34:50.457" v="1703" actId="21"/>
          <ac:picMkLst>
            <pc:docMk/>
            <pc:sldMk cId="3191170877" sldId="2443"/>
            <ac:picMk id="15" creationId="{A5B5413E-3AB6-6BCB-B61F-BC0480B2F119}"/>
          </ac:picMkLst>
        </pc:picChg>
        <pc:picChg chg="del">
          <ac:chgData name="van Leeuwen  Sara (VPPL)" userId="7a5f1df4-0dd0-4c9e-a72f-a035cf318af6" providerId="ADAL" clId="{AAA37DE2-93D3-44F8-BE87-C19EC6771CD3}" dt="2023-09-20T13:34:50.457" v="1703" actId="21"/>
          <ac:picMkLst>
            <pc:docMk/>
            <pc:sldMk cId="3191170877" sldId="2443"/>
            <ac:picMk id="16" creationId="{9C353BF5-5831-DC36-D15F-D3D70B8D3D82}"/>
          </ac:picMkLst>
        </pc:picChg>
        <pc:picChg chg="del">
          <ac:chgData name="van Leeuwen  Sara (VPPL)" userId="7a5f1df4-0dd0-4c9e-a72f-a035cf318af6" providerId="ADAL" clId="{AAA37DE2-93D3-44F8-BE87-C19EC6771CD3}" dt="2023-09-20T13:34:50.457" v="1703" actId="21"/>
          <ac:picMkLst>
            <pc:docMk/>
            <pc:sldMk cId="3191170877" sldId="2443"/>
            <ac:picMk id="17" creationId="{C8769AF6-8D06-05B7-E408-734752A36478}"/>
          </ac:picMkLst>
        </pc:picChg>
      </pc:sldChg>
      <pc:sldChg chg="addSp delSp modSp add del mod ord modNotes">
        <pc:chgData name="van Leeuwen  Sara (VPPL)" userId="7a5f1df4-0dd0-4c9e-a72f-a035cf318af6" providerId="ADAL" clId="{AAA37DE2-93D3-44F8-BE87-C19EC6771CD3}" dt="2023-09-21T09:26:35.516" v="17238" actId="2696"/>
        <pc:sldMkLst>
          <pc:docMk/>
          <pc:sldMk cId="1284695877" sldId="2444"/>
        </pc:sldMkLst>
        <pc:spChg chg="mod">
          <ac:chgData name="van Leeuwen  Sara (VPPL)" userId="7a5f1df4-0dd0-4c9e-a72f-a035cf318af6" providerId="ADAL" clId="{AAA37DE2-93D3-44F8-BE87-C19EC6771CD3}" dt="2023-09-21T08:01:08.015" v="14761" actId="948"/>
          <ac:spMkLst>
            <pc:docMk/>
            <pc:sldMk cId="1284695877" sldId="2444"/>
            <ac:spMk id="2" creationId="{00000000-0000-0000-0000-000000000000}"/>
          </ac:spMkLst>
        </pc:spChg>
        <pc:spChg chg="mod">
          <ac:chgData name="van Leeuwen  Sara (VPPL)" userId="7a5f1df4-0dd0-4c9e-a72f-a035cf318af6" providerId="ADAL" clId="{AAA37DE2-93D3-44F8-BE87-C19EC6771CD3}" dt="2023-09-21T09:17:35.037" v="17165" actId="33524"/>
          <ac:spMkLst>
            <pc:docMk/>
            <pc:sldMk cId="1284695877" sldId="2444"/>
            <ac:spMk id="3" creationId="{00000000-0000-0000-0000-000000000000}"/>
          </ac:spMkLst>
        </pc:spChg>
        <pc:spChg chg="mod">
          <ac:chgData name="van Leeuwen  Sara (VPPL)" userId="7a5f1df4-0dd0-4c9e-a72f-a035cf318af6" providerId="ADAL" clId="{AAA37DE2-93D3-44F8-BE87-C19EC6771CD3}" dt="2023-09-21T07:58:43.318" v="4114" actId="947"/>
          <ac:spMkLst>
            <pc:docMk/>
            <pc:sldMk cId="1284695877" sldId="2444"/>
            <ac:spMk id="4" creationId="{00000000-0000-0000-0000-000000000000}"/>
          </ac:spMkLst>
        </pc:spChg>
        <pc:spChg chg="mod">
          <ac:chgData name="van Leeuwen  Sara (VPPL)" userId="7a5f1df4-0dd0-4c9e-a72f-a035cf318af6" providerId="ADAL" clId="{AAA37DE2-93D3-44F8-BE87-C19EC6771CD3}" dt="2023-09-21T07:58:43.318" v="4120" actId="947"/>
          <ac:spMkLst>
            <pc:docMk/>
            <pc:sldMk cId="1284695877" sldId="2444"/>
            <ac:spMk id="5" creationId="{C4E4176B-2361-477E-A786-7B1E08DDED95}"/>
          </ac:spMkLst>
        </pc:spChg>
        <pc:spChg chg="mod">
          <ac:chgData name="van Leeuwen  Sara (VPPL)" userId="7a5f1df4-0dd0-4c9e-a72f-a035cf318af6" providerId="ADAL" clId="{AAA37DE2-93D3-44F8-BE87-C19EC6771CD3}" dt="2023-09-21T07:58:43.318" v="4118" actId="947"/>
          <ac:spMkLst>
            <pc:docMk/>
            <pc:sldMk cId="1284695877" sldId="2444"/>
            <ac:spMk id="6" creationId="{00000000-0000-0000-0000-000000000000}"/>
          </ac:spMkLst>
        </pc:spChg>
        <pc:spChg chg="add del mod modVis">
          <ac:chgData name="van Leeuwen  Sara (VPPL)" userId="7a5f1df4-0dd0-4c9e-a72f-a035cf318af6" providerId="ADAL" clId="{AAA37DE2-93D3-44F8-BE87-C19EC6771CD3}" dt="2023-09-21T08:01:08.141" v="15308" actId="478"/>
          <ac:spMkLst>
            <pc:docMk/>
            <pc:sldMk cId="1284695877" sldId="2444"/>
            <ac:spMk id="7" creationId="{F409E551-B6F2-48EA-0E6A-9AA079C6A7F6}"/>
          </ac:spMkLst>
        </pc:spChg>
        <pc:spChg chg="mod">
          <ac:chgData name="van Leeuwen  Sara (VPPL)" userId="7a5f1df4-0dd0-4c9e-a72f-a035cf318af6" providerId="ADAL" clId="{AAA37DE2-93D3-44F8-BE87-C19EC6771CD3}" dt="2023-09-21T08:01:07.244" v="11933" actId="790"/>
          <ac:spMkLst>
            <pc:docMk/>
            <pc:sldMk cId="1284695877" sldId="2444"/>
            <ac:spMk id="8" creationId="{D75AFB06-C0D5-C44A-AFA0-9276A7192873}"/>
          </ac:spMkLst>
        </pc:spChg>
        <pc:graphicFrameChg chg="mod">
          <ac:chgData name="van Leeuwen  Sara (VPPL)" userId="7a5f1df4-0dd0-4c9e-a72f-a035cf318af6" providerId="ADAL" clId="{AAA37DE2-93D3-44F8-BE87-C19EC6771CD3}" dt="2023-09-21T09:10:57.363" v="17076"/>
          <ac:graphicFrameMkLst>
            <pc:docMk/>
            <pc:sldMk cId="1284695877" sldId="2444"/>
            <ac:graphicFrameMk id="9" creationId="{790F68F1-68CA-ADEE-CF64-C1974CB68317}"/>
          </ac:graphicFrameMkLst>
        </pc:graphicFrameChg>
      </pc:sldChg>
      <pc:sldChg chg="add">
        <pc:chgData name="van Leeuwen  Sara (VPPL)" userId="7a5f1df4-0dd0-4c9e-a72f-a035cf318af6" providerId="ADAL" clId="{AAA37DE2-93D3-44F8-BE87-C19EC6771CD3}" dt="2023-09-21T09:26:40.301" v="17239"/>
        <pc:sldMkLst>
          <pc:docMk/>
          <pc:sldMk cId="3213314599" sldId="2444"/>
        </pc:sldMkLst>
      </pc:sldChg>
      <pc:sldChg chg="addSp delSp modSp add del mod ord modNotes">
        <pc:chgData name="van Leeuwen  Sara (VPPL)" userId="7a5f1df4-0dd0-4c9e-a72f-a035cf318af6" providerId="ADAL" clId="{AAA37DE2-93D3-44F8-BE87-C19EC6771CD3}" dt="2023-09-21T09:26:35.516" v="17238" actId="2696"/>
        <pc:sldMkLst>
          <pc:docMk/>
          <pc:sldMk cId="533780484" sldId="2445"/>
        </pc:sldMkLst>
        <pc:spChg chg="mod">
          <ac:chgData name="van Leeuwen  Sara (VPPL)" userId="7a5f1df4-0dd0-4c9e-a72f-a035cf318af6" providerId="ADAL" clId="{AAA37DE2-93D3-44F8-BE87-C19EC6771CD3}" dt="2023-09-21T08:01:08.015" v="14725" actId="948"/>
          <ac:spMkLst>
            <pc:docMk/>
            <pc:sldMk cId="533780484" sldId="2445"/>
            <ac:spMk id="2" creationId="{00000000-0000-0000-0000-000000000000}"/>
          </ac:spMkLst>
        </pc:spChg>
        <pc:spChg chg="mod">
          <ac:chgData name="van Leeuwen  Sara (VPPL)" userId="7a5f1df4-0dd0-4c9e-a72f-a035cf318af6" providerId="ADAL" clId="{AAA37DE2-93D3-44F8-BE87-C19EC6771CD3}" dt="2023-09-21T09:13:28.583" v="17080" actId="33524"/>
          <ac:spMkLst>
            <pc:docMk/>
            <pc:sldMk cId="533780484" sldId="2445"/>
            <ac:spMk id="3" creationId="{00000000-0000-0000-0000-000000000000}"/>
          </ac:spMkLst>
        </pc:spChg>
        <pc:spChg chg="mod">
          <ac:chgData name="van Leeuwen  Sara (VPPL)" userId="7a5f1df4-0dd0-4c9e-a72f-a035cf318af6" providerId="ADAL" clId="{AAA37DE2-93D3-44F8-BE87-C19EC6771CD3}" dt="2023-09-21T07:58:43.339" v="4126" actId="947"/>
          <ac:spMkLst>
            <pc:docMk/>
            <pc:sldMk cId="533780484" sldId="2445"/>
            <ac:spMk id="4" creationId="{00000000-0000-0000-0000-000000000000}"/>
          </ac:spMkLst>
        </pc:spChg>
        <pc:spChg chg="mod">
          <ac:chgData name="van Leeuwen  Sara (VPPL)" userId="7a5f1df4-0dd0-4c9e-a72f-a035cf318af6" providerId="ADAL" clId="{AAA37DE2-93D3-44F8-BE87-C19EC6771CD3}" dt="2023-09-21T07:58:43.349" v="4132" actId="947"/>
          <ac:spMkLst>
            <pc:docMk/>
            <pc:sldMk cId="533780484" sldId="2445"/>
            <ac:spMk id="5" creationId="{C4E4176B-2361-477E-A786-7B1E08DDED95}"/>
          </ac:spMkLst>
        </pc:spChg>
        <pc:spChg chg="mod">
          <ac:chgData name="van Leeuwen  Sara (VPPL)" userId="7a5f1df4-0dd0-4c9e-a72f-a035cf318af6" providerId="ADAL" clId="{AAA37DE2-93D3-44F8-BE87-C19EC6771CD3}" dt="2023-09-21T07:58:43.349" v="4130" actId="947"/>
          <ac:spMkLst>
            <pc:docMk/>
            <pc:sldMk cId="533780484" sldId="2445"/>
            <ac:spMk id="6" creationId="{00000000-0000-0000-0000-000000000000}"/>
          </ac:spMkLst>
        </pc:spChg>
        <pc:spChg chg="add del mod modVis">
          <ac:chgData name="van Leeuwen  Sara (VPPL)" userId="7a5f1df4-0dd0-4c9e-a72f-a035cf318af6" providerId="ADAL" clId="{AAA37DE2-93D3-44F8-BE87-C19EC6771CD3}" dt="2023-09-21T08:01:08.141" v="15306" actId="478"/>
          <ac:spMkLst>
            <pc:docMk/>
            <pc:sldMk cId="533780484" sldId="2445"/>
            <ac:spMk id="7" creationId="{57244837-1E49-1269-AECA-96A620282190}"/>
          </ac:spMkLst>
        </pc:spChg>
        <pc:spChg chg="mod">
          <ac:chgData name="van Leeuwen  Sara (VPPL)" userId="7a5f1df4-0dd0-4c9e-a72f-a035cf318af6" providerId="ADAL" clId="{AAA37DE2-93D3-44F8-BE87-C19EC6771CD3}" dt="2023-09-21T08:01:07.244" v="11945" actId="790"/>
          <ac:spMkLst>
            <pc:docMk/>
            <pc:sldMk cId="533780484" sldId="2445"/>
            <ac:spMk id="8" creationId="{D75AFB06-C0D5-C44A-AFA0-9276A7192873}"/>
          </ac:spMkLst>
        </pc:spChg>
        <pc:graphicFrameChg chg="mod">
          <ac:chgData name="van Leeuwen  Sara (VPPL)" userId="7a5f1df4-0dd0-4c9e-a72f-a035cf318af6" providerId="ADAL" clId="{AAA37DE2-93D3-44F8-BE87-C19EC6771CD3}" dt="2023-09-21T09:10:57.347" v="17074"/>
          <ac:graphicFrameMkLst>
            <pc:docMk/>
            <pc:sldMk cId="533780484" sldId="2445"/>
            <ac:graphicFrameMk id="9" creationId="{6330197E-17A9-F408-EFC3-A8EBC43E8B0A}"/>
          </ac:graphicFrameMkLst>
        </pc:graphicFrameChg>
      </pc:sldChg>
      <pc:sldChg chg="add">
        <pc:chgData name="van Leeuwen  Sara (VPPL)" userId="7a5f1df4-0dd0-4c9e-a72f-a035cf318af6" providerId="ADAL" clId="{AAA37DE2-93D3-44F8-BE87-C19EC6771CD3}" dt="2023-09-21T09:26:40.301" v="17239"/>
        <pc:sldMkLst>
          <pc:docMk/>
          <pc:sldMk cId="687061124" sldId="2445"/>
        </pc:sldMkLst>
      </pc:sldChg>
      <pc:sldChg chg="addSp delSp modSp new add mod modNotes">
        <pc:chgData name="van Leeuwen  Sara (VPPL)" userId="7a5f1df4-0dd0-4c9e-a72f-a035cf318af6" providerId="ADAL" clId="{AAA37DE2-93D3-44F8-BE87-C19EC6771CD3}" dt="2023-09-21T08:01:08.392" v="15462"/>
        <pc:sldMkLst>
          <pc:docMk/>
          <pc:sldMk cId="645604469" sldId="2446"/>
        </pc:sldMkLst>
        <pc:spChg chg="del">
          <ac:chgData name="van Leeuwen  Sara (VPPL)" userId="7a5f1df4-0dd0-4c9e-a72f-a035cf318af6" providerId="ADAL" clId="{AAA37DE2-93D3-44F8-BE87-C19EC6771CD3}" dt="2023-09-20T13:34:09.081" v="1682" actId="478"/>
          <ac:spMkLst>
            <pc:docMk/>
            <pc:sldMk cId="645604469" sldId="2446"/>
            <ac:spMk id="2" creationId="{1EBC14BD-F2A2-DE8D-FF8C-2DC37B66F64A}"/>
          </ac:spMkLst>
        </pc:spChg>
        <pc:spChg chg="mod">
          <ac:chgData name="van Leeuwen  Sara (VPPL)" userId="7a5f1df4-0dd0-4c9e-a72f-a035cf318af6" providerId="ADAL" clId="{AAA37DE2-93D3-44F8-BE87-C19EC6771CD3}" dt="2023-09-21T08:01:07.354" v="12415" actId="790"/>
          <ac:spMkLst>
            <pc:docMk/>
            <pc:sldMk cId="645604469" sldId="2446"/>
            <ac:spMk id="3" creationId="{CD164694-0894-5683-F43E-332E0F82F468}"/>
          </ac:spMkLst>
        </pc:spChg>
        <pc:spChg chg="mod">
          <ac:chgData name="van Leeuwen  Sara (VPPL)" userId="7a5f1df4-0dd0-4c9e-a72f-a035cf318af6" providerId="ADAL" clId="{AAA37DE2-93D3-44F8-BE87-C19EC6771CD3}" dt="2023-09-21T07:58:43.776" v="4600" actId="947"/>
          <ac:spMkLst>
            <pc:docMk/>
            <pc:sldMk cId="645604469" sldId="2446"/>
            <ac:spMk id="4" creationId="{503B1E74-5023-4D15-B036-C90C46C67203}"/>
          </ac:spMkLst>
        </pc:spChg>
        <pc:spChg chg="mod">
          <ac:chgData name="van Leeuwen  Sara (VPPL)" userId="7a5f1df4-0dd0-4c9e-a72f-a035cf318af6" providerId="ADAL" clId="{AAA37DE2-93D3-44F8-BE87-C19EC6771CD3}" dt="2023-09-21T08:01:07.354" v="12419" actId="790"/>
          <ac:spMkLst>
            <pc:docMk/>
            <pc:sldMk cId="645604469" sldId="2446"/>
            <ac:spMk id="5" creationId="{985DE3C5-74AD-C105-2AAE-E8BA874F5D40}"/>
          </ac:spMkLst>
        </pc:spChg>
        <pc:spChg chg="mod">
          <ac:chgData name="van Leeuwen  Sara (VPPL)" userId="7a5f1df4-0dd0-4c9e-a72f-a035cf318af6" providerId="ADAL" clId="{AAA37DE2-93D3-44F8-BE87-C19EC6771CD3}" dt="2023-09-21T07:58:43.776" v="4604" actId="947"/>
          <ac:spMkLst>
            <pc:docMk/>
            <pc:sldMk cId="645604469" sldId="2446"/>
            <ac:spMk id="6" creationId="{E5170B01-4FDA-7FC8-A45E-4C6ED2C6E843}"/>
          </ac:spMkLst>
        </pc:spChg>
        <pc:graphicFrameChg chg="add mod ord modVis replST">
          <ac:chgData name="van Leeuwen  Sara (VPPL)" userId="7a5f1df4-0dd0-4c9e-a72f-a035cf318af6" providerId="ADAL" clId="{AAA37DE2-93D3-44F8-BE87-C19EC6771CD3}" dt="2023-09-21T08:01:08.392" v="15462"/>
          <ac:graphicFrameMkLst>
            <pc:docMk/>
            <pc:sldMk cId="645604469" sldId="2446"/>
            <ac:graphicFrameMk id="7" creationId="{27DFCCEE-8338-B7E3-4737-914D17E02297}"/>
          </ac:graphicFrameMkLst>
        </pc:graphicFrameChg>
        <pc:picChg chg="add mod">
          <ac:chgData name="van Leeuwen  Sara (VPPL)" userId="7a5f1df4-0dd0-4c9e-a72f-a035cf318af6" providerId="ADAL" clId="{AAA37DE2-93D3-44F8-BE87-C19EC6771CD3}" dt="2023-09-20T13:37:42.421" v="1734" actId="1076"/>
          <ac:picMkLst>
            <pc:docMk/>
            <pc:sldMk cId="645604469" sldId="2446"/>
            <ac:picMk id="8" creationId="{B0E83C3F-F117-A442-BB56-10B4AA6B60B9}"/>
          </ac:picMkLst>
        </pc:picChg>
        <pc:picChg chg="add mod">
          <ac:chgData name="van Leeuwen  Sara (VPPL)" userId="7a5f1df4-0dd0-4c9e-a72f-a035cf318af6" providerId="ADAL" clId="{AAA37DE2-93D3-44F8-BE87-C19EC6771CD3}" dt="2023-09-20T13:37:39.816" v="1733" actId="1076"/>
          <ac:picMkLst>
            <pc:docMk/>
            <pc:sldMk cId="645604469" sldId="2446"/>
            <ac:picMk id="9" creationId="{28D595F2-B342-6C4E-C5AB-A9D1931F70B5}"/>
          </ac:picMkLst>
        </pc:picChg>
        <pc:picChg chg="add mod">
          <ac:chgData name="van Leeuwen  Sara (VPPL)" userId="7a5f1df4-0dd0-4c9e-a72f-a035cf318af6" providerId="ADAL" clId="{AAA37DE2-93D3-44F8-BE87-C19EC6771CD3}" dt="2023-09-20T13:37:36.113" v="1731" actId="1076"/>
          <ac:picMkLst>
            <pc:docMk/>
            <pc:sldMk cId="645604469" sldId="2446"/>
            <ac:picMk id="10" creationId="{8FDE1D01-1031-955B-7856-DDEAB04EDE5C}"/>
          </ac:picMkLst>
        </pc:picChg>
        <pc:picChg chg="add mod">
          <ac:chgData name="van Leeuwen  Sara (VPPL)" userId="7a5f1df4-0dd0-4c9e-a72f-a035cf318af6" providerId="ADAL" clId="{AAA37DE2-93D3-44F8-BE87-C19EC6771CD3}" dt="2023-09-20T13:37:38.177" v="1732" actId="1076"/>
          <ac:picMkLst>
            <pc:docMk/>
            <pc:sldMk cId="645604469" sldId="2446"/>
            <ac:picMk id="11" creationId="{933878ED-61B2-D6A9-78BA-375B6BCF4451}"/>
          </ac:picMkLst>
        </pc:picChg>
        <pc:picChg chg="add del mod">
          <ac:chgData name="van Leeuwen  Sara (VPPL)" userId="7a5f1df4-0dd0-4c9e-a72f-a035cf318af6" providerId="ADAL" clId="{AAA37DE2-93D3-44F8-BE87-C19EC6771CD3}" dt="2023-09-20T13:35:50.421" v="1711" actId="478"/>
          <ac:picMkLst>
            <pc:docMk/>
            <pc:sldMk cId="645604469" sldId="2446"/>
            <ac:picMk id="12" creationId="{8106B667-A04D-908E-F3BB-ACC0AFE11DB5}"/>
          </ac:picMkLst>
        </pc:picChg>
      </pc:sldChg>
      <pc:sldChg chg="addSp delSp modSp add mod modNotes">
        <pc:chgData name="van Leeuwen  Sara (VPPL)" userId="7a5f1df4-0dd0-4c9e-a72f-a035cf318af6" providerId="ADAL" clId="{AAA37DE2-93D3-44F8-BE87-C19EC6771CD3}" dt="2023-09-21T09:29:33.711" v="17413" actId="20577"/>
        <pc:sldMkLst>
          <pc:docMk/>
          <pc:sldMk cId="217941384" sldId="2447"/>
        </pc:sldMkLst>
        <pc:spChg chg="mod">
          <ac:chgData name="van Leeuwen  Sara (VPPL)" userId="7a5f1df4-0dd0-4c9e-a72f-a035cf318af6" providerId="ADAL" clId="{AAA37DE2-93D3-44F8-BE87-C19EC6771CD3}" dt="2023-09-21T08:01:08.093" v="15136" actId="948"/>
          <ac:spMkLst>
            <pc:docMk/>
            <pc:sldMk cId="217941384" sldId="2447"/>
            <ac:spMk id="2" creationId="{00000000-0000-0000-0000-000000000000}"/>
          </ac:spMkLst>
        </pc:spChg>
        <pc:spChg chg="mod">
          <ac:chgData name="van Leeuwen  Sara (VPPL)" userId="7a5f1df4-0dd0-4c9e-a72f-a035cf318af6" providerId="ADAL" clId="{AAA37DE2-93D3-44F8-BE87-C19EC6771CD3}" dt="2023-09-21T09:29:33.711" v="17413" actId="20577"/>
          <ac:spMkLst>
            <pc:docMk/>
            <pc:sldMk cId="217941384" sldId="2447"/>
            <ac:spMk id="3" creationId="{00000000-0000-0000-0000-000000000000}"/>
          </ac:spMkLst>
        </pc:spChg>
        <pc:spChg chg="mod">
          <ac:chgData name="van Leeuwen  Sara (VPPL)" userId="7a5f1df4-0dd0-4c9e-a72f-a035cf318af6" providerId="ADAL" clId="{AAA37DE2-93D3-44F8-BE87-C19EC6771CD3}" dt="2023-09-21T07:58:43.760" v="4590" actId="947"/>
          <ac:spMkLst>
            <pc:docMk/>
            <pc:sldMk cId="217941384" sldId="2447"/>
            <ac:spMk id="4" creationId="{00000000-0000-0000-0000-000000000000}"/>
          </ac:spMkLst>
        </pc:spChg>
        <pc:spChg chg="mod">
          <ac:chgData name="van Leeuwen  Sara (VPPL)" userId="7a5f1df4-0dd0-4c9e-a72f-a035cf318af6" providerId="ADAL" clId="{AAA37DE2-93D3-44F8-BE87-C19EC6771CD3}" dt="2023-09-21T07:58:43.760" v="4596" actId="947"/>
          <ac:spMkLst>
            <pc:docMk/>
            <pc:sldMk cId="217941384" sldId="2447"/>
            <ac:spMk id="5" creationId="{C4E4176B-2361-477E-A786-7B1E08DDED95}"/>
          </ac:spMkLst>
        </pc:spChg>
        <pc:spChg chg="mod">
          <ac:chgData name="van Leeuwen  Sara (VPPL)" userId="7a5f1df4-0dd0-4c9e-a72f-a035cf318af6" providerId="ADAL" clId="{AAA37DE2-93D3-44F8-BE87-C19EC6771CD3}" dt="2023-09-21T07:58:43.760" v="4594" actId="947"/>
          <ac:spMkLst>
            <pc:docMk/>
            <pc:sldMk cId="217941384" sldId="2447"/>
            <ac:spMk id="6" creationId="{00000000-0000-0000-0000-000000000000}"/>
          </ac:spMkLst>
        </pc:spChg>
        <pc:spChg chg="add del mod modVis">
          <ac:chgData name="van Leeuwen  Sara (VPPL)" userId="7a5f1df4-0dd0-4c9e-a72f-a035cf318af6" providerId="ADAL" clId="{AAA37DE2-93D3-44F8-BE87-C19EC6771CD3}" dt="2023-09-20T13:57:43.046" v="2407"/>
          <ac:spMkLst>
            <pc:docMk/>
            <pc:sldMk cId="217941384" sldId="2447"/>
            <ac:spMk id="7" creationId="{0B454FD6-DA1E-EC59-E9F8-AC688E23D14F}"/>
          </ac:spMkLst>
        </pc:spChg>
        <pc:spChg chg="add del mod modVis">
          <ac:chgData name="van Leeuwen  Sara (VPPL)" userId="7a5f1df4-0dd0-4c9e-a72f-a035cf318af6" providerId="ADAL" clId="{AAA37DE2-93D3-44F8-BE87-C19EC6771CD3}" dt="2023-09-21T08:01:08.141" v="15329" actId="478"/>
          <ac:spMkLst>
            <pc:docMk/>
            <pc:sldMk cId="217941384" sldId="2447"/>
            <ac:spMk id="7" creationId="{1896D4E0-3CC8-9550-3BF8-D5E7E5E76181}"/>
          </ac:spMkLst>
        </pc:spChg>
        <pc:spChg chg="mod">
          <ac:chgData name="van Leeuwen  Sara (VPPL)" userId="7a5f1df4-0dd0-4c9e-a72f-a035cf318af6" providerId="ADAL" clId="{AAA37DE2-93D3-44F8-BE87-C19EC6771CD3}" dt="2023-09-21T08:01:07.338" v="12409" actId="790"/>
          <ac:spMkLst>
            <pc:docMk/>
            <pc:sldMk cId="217941384" sldId="2447"/>
            <ac:spMk id="8" creationId="{D75AFB06-C0D5-C44A-AFA0-9276A7192873}"/>
          </ac:spMkLst>
        </pc:spChg>
        <pc:spChg chg="add del mod modVis">
          <ac:chgData name="van Leeuwen  Sara (VPPL)" userId="7a5f1df4-0dd0-4c9e-a72f-a035cf318af6" providerId="ADAL" clId="{AAA37DE2-93D3-44F8-BE87-C19EC6771CD3}" dt="2023-09-20T13:57:45.978" v="2467"/>
          <ac:spMkLst>
            <pc:docMk/>
            <pc:sldMk cId="217941384" sldId="2447"/>
            <ac:spMk id="10" creationId="{62E8D215-B500-6668-4658-1A06F5BDB3D6}"/>
          </ac:spMkLst>
        </pc:spChg>
        <pc:spChg chg="add del mod modVis">
          <ac:chgData name="van Leeuwen  Sara (VPPL)" userId="7a5f1df4-0dd0-4c9e-a72f-a035cf318af6" providerId="ADAL" clId="{AAA37DE2-93D3-44F8-BE87-C19EC6771CD3}" dt="2023-09-20T13:57:47.900" v="2514"/>
          <ac:spMkLst>
            <pc:docMk/>
            <pc:sldMk cId="217941384" sldId="2447"/>
            <ac:spMk id="11" creationId="{DBE6B13A-04C8-2D66-0713-4B274633B35F}"/>
          </ac:spMkLst>
        </pc:spChg>
        <pc:spChg chg="add del mod modVis">
          <ac:chgData name="van Leeuwen  Sara (VPPL)" userId="7a5f1df4-0dd0-4c9e-a72f-a035cf318af6" providerId="ADAL" clId="{AAA37DE2-93D3-44F8-BE87-C19EC6771CD3}" dt="2023-09-20T13:57:49.065" v="2561"/>
          <ac:spMkLst>
            <pc:docMk/>
            <pc:sldMk cId="217941384" sldId="2447"/>
            <ac:spMk id="12" creationId="{C4F41D47-1978-FE2A-3B46-97F4F36D127B}"/>
          </ac:spMkLst>
        </pc:spChg>
        <pc:spChg chg="add del mod modVis">
          <ac:chgData name="van Leeuwen  Sara (VPPL)" userId="7a5f1df4-0dd0-4c9e-a72f-a035cf318af6" providerId="ADAL" clId="{AAA37DE2-93D3-44F8-BE87-C19EC6771CD3}" dt="2023-09-20T13:57:53.206" v="2607"/>
          <ac:spMkLst>
            <pc:docMk/>
            <pc:sldMk cId="217941384" sldId="2447"/>
            <ac:spMk id="13" creationId="{57CCE6E4-1E13-9D43-5FE1-088EC4028117}"/>
          </ac:spMkLst>
        </pc:spChg>
        <pc:spChg chg="add del mod modVis">
          <ac:chgData name="van Leeuwen  Sara (VPPL)" userId="7a5f1df4-0dd0-4c9e-a72f-a035cf318af6" providerId="ADAL" clId="{AAA37DE2-93D3-44F8-BE87-C19EC6771CD3}" dt="2023-09-20T13:57:55.395" v="2660"/>
          <ac:spMkLst>
            <pc:docMk/>
            <pc:sldMk cId="217941384" sldId="2447"/>
            <ac:spMk id="14" creationId="{644BB8BD-A996-218E-FFEE-9815DAD8BC1C}"/>
          </ac:spMkLst>
        </pc:spChg>
        <pc:spChg chg="add del mod modVis">
          <ac:chgData name="van Leeuwen  Sara (VPPL)" userId="7a5f1df4-0dd0-4c9e-a72f-a035cf318af6" providerId="ADAL" clId="{AAA37DE2-93D3-44F8-BE87-C19EC6771CD3}" dt="2023-09-20T13:57:58.746" v="2706"/>
          <ac:spMkLst>
            <pc:docMk/>
            <pc:sldMk cId="217941384" sldId="2447"/>
            <ac:spMk id="15" creationId="{3BF707F8-0EE5-04A9-79A1-54DB8D264DFD}"/>
          </ac:spMkLst>
        </pc:spChg>
        <pc:spChg chg="add del mod modVis">
          <ac:chgData name="van Leeuwen  Sara (VPPL)" userId="7a5f1df4-0dd0-4c9e-a72f-a035cf318af6" providerId="ADAL" clId="{AAA37DE2-93D3-44F8-BE87-C19EC6771CD3}" dt="2023-09-20T13:58:01.170" v="2765"/>
          <ac:spMkLst>
            <pc:docMk/>
            <pc:sldMk cId="217941384" sldId="2447"/>
            <ac:spMk id="16" creationId="{333404E5-EC16-090C-A044-F917FBCC9726}"/>
          </ac:spMkLst>
        </pc:spChg>
        <pc:spChg chg="add del mod modVis">
          <ac:chgData name="van Leeuwen  Sara (VPPL)" userId="7a5f1df4-0dd0-4c9e-a72f-a035cf318af6" providerId="ADAL" clId="{AAA37DE2-93D3-44F8-BE87-C19EC6771CD3}" dt="2023-09-20T13:58:02.903" v="2816"/>
          <ac:spMkLst>
            <pc:docMk/>
            <pc:sldMk cId="217941384" sldId="2447"/>
            <ac:spMk id="17" creationId="{BB559269-C731-FB9C-BDA2-C89E7B70F237}"/>
          </ac:spMkLst>
        </pc:spChg>
        <pc:graphicFrameChg chg="mod">
          <ac:chgData name="van Leeuwen  Sara (VPPL)" userId="7a5f1df4-0dd0-4c9e-a72f-a035cf318af6" providerId="ADAL" clId="{AAA37DE2-93D3-44F8-BE87-C19EC6771CD3}" dt="2023-09-21T08:01:08.392" v="15460"/>
          <ac:graphicFrameMkLst>
            <pc:docMk/>
            <pc:sldMk cId="217941384" sldId="2447"/>
            <ac:graphicFrameMk id="9" creationId="{790F68F1-68CA-ADEE-CF64-C1974CB68317}"/>
          </ac:graphicFrameMkLst>
        </pc:graphicFrameChg>
      </pc:sldChg>
      <pc:sldChg chg="addSp delSp modSp add mod">
        <pc:chgData name="van Leeuwen  Sara (VPPL)" userId="7a5f1df4-0dd0-4c9e-a72f-a035cf318af6" providerId="ADAL" clId="{AAA37DE2-93D3-44F8-BE87-C19EC6771CD3}" dt="2023-09-21T09:12:04.280" v="17079" actId="20577"/>
        <pc:sldMkLst>
          <pc:docMk/>
          <pc:sldMk cId="1765676676" sldId="2448"/>
        </pc:sldMkLst>
        <pc:spChg chg="mod">
          <ac:chgData name="van Leeuwen  Sara (VPPL)" userId="7a5f1df4-0dd0-4c9e-a72f-a035cf318af6" providerId="ADAL" clId="{AAA37DE2-93D3-44F8-BE87-C19EC6771CD3}" dt="2023-09-21T08:21:33.043" v="15953" actId="948"/>
          <ac:spMkLst>
            <pc:docMk/>
            <pc:sldMk cId="1765676676" sldId="2448"/>
            <ac:spMk id="2" creationId="{C2543CB6-7CCE-4092-94E2-1F9AF86C92CD}"/>
          </ac:spMkLst>
        </pc:spChg>
        <pc:spChg chg="mod">
          <ac:chgData name="van Leeuwen  Sara (VPPL)" userId="7a5f1df4-0dd0-4c9e-a72f-a035cf318af6" providerId="ADAL" clId="{AAA37DE2-93D3-44F8-BE87-C19EC6771CD3}" dt="2023-09-21T09:12:04.280" v="17079" actId="20577"/>
          <ac:spMkLst>
            <pc:docMk/>
            <pc:sldMk cId="1765676676" sldId="2448"/>
            <ac:spMk id="3" creationId="{E9BBD3EE-C606-408E-8853-A8E4F45E02CE}"/>
          </ac:spMkLst>
        </pc:spChg>
        <pc:spChg chg="add del mod modVis">
          <ac:chgData name="van Leeuwen  Sara (VPPL)" userId="7a5f1df4-0dd0-4c9e-a72f-a035cf318af6" providerId="ADAL" clId="{AAA37DE2-93D3-44F8-BE87-C19EC6771CD3}" dt="2023-09-21T08:17:22.746" v="15778"/>
          <ac:spMkLst>
            <pc:docMk/>
            <pc:sldMk cId="1765676676" sldId="2448"/>
            <ac:spMk id="8" creationId="{6EDA4DF8-094C-DBD3-17D6-3C2889F9CC52}"/>
          </ac:spMkLst>
        </pc:spChg>
        <pc:spChg chg="add del mod modVis">
          <ac:chgData name="van Leeuwen  Sara (VPPL)" userId="7a5f1df4-0dd0-4c9e-a72f-a035cf318af6" providerId="ADAL" clId="{AAA37DE2-93D3-44F8-BE87-C19EC6771CD3}" dt="2023-09-21T08:17:23.045" v="15823"/>
          <ac:spMkLst>
            <pc:docMk/>
            <pc:sldMk cId="1765676676" sldId="2448"/>
            <ac:spMk id="10" creationId="{FB160156-348C-76AB-5FB1-569D86CAD525}"/>
          </ac:spMkLst>
        </pc:spChg>
        <pc:spChg chg="add del mod modVis">
          <ac:chgData name="van Leeuwen  Sara (VPPL)" userId="7a5f1df4-0dd0-4c9e-a72f-a035cf318af6" providerId="ADAL" clId="{AAA37DE2-93D3-44F8-BE87-C19EC6771CD3}" dt="2023-09-21T08:17:24.444" v="15870"/>
          <ac:spMkLst>
            <pc:docMk/>
            <pc:sldMk cId="1765676676" sldId="2448"/>
            <ac:spMk id="11" creationId="{0FADEA86-2F96-93D1-5990-C04D823564CC}"/>
          </ac:spMkLst>
        </pc:spChg>
        <pc:spChg chg="add del mod modVis">
          <ac:chgData name="van Leeuwen  Sara (VPPL)" userId="7a5f1df4-0dd0-4c9e-a72f-a035cf318af6" providerId="ADAL" clId="{AAA37DE2-93D3-44F8-BE87-C19EC6771CD3}" dt="2023-09-21T08:21:19.624" v="15943"/>
          <ac:spMkLst>
            <pc:docMk/>
            <pc:sldMk cId="1765676676" sldId="2448"/>
            <ac:spMk id="12" creationId="{D3C38F3A-FB13-F26F-D931-0021EC218E71}"/>
          </ac:spMkLst>
        </pc:spChg>
        <pc:spChg chg="add del mod modVis">
          <ac:chgData name="van Leeuwen  Sara (VPPL)" userId="7a5f1df4-0dd0-4c9e-a72f-a035cf318af6" providerId="ADAL" clId="{AAA37DE2-93D3-44F8-BE87-C19EC6771CD3}" dt="2023-09-21T08:21:33.074" v="15994"/>
          <ac:spMkLst>
            <pc:docMk/>
            <pc:sldMk cId="1765676676" sldId="2448"/>
            <ac:spMk id="13" creationId="{077F68B1-2876-9215-B80D-742F17B338AD}"/>
          </ac:spMkLst>
        </pc:spChg>
        <pc:graphicFrameChg chg="mod">
          <ac:chgData name="van Leeuwen  Sara (VPPL)" userId="7a5f1df4-0dd0-4c9e-a72f-a035cf318af6" providerId="ADAL" clId="{AAA37DE2-93D3-44F8-BE87-C19EC6771CD3}" dt="2023-09-21T08:21:33.074" v="15996"/>
          <ac:graphicFrameMkLst>
            <pc:docMk/>
            <pc:sldMk cId="1765676676" sldId="2448"/>
            <ac:graphicFrameMk id="9" creationId="{5FC14056-3291-216C-B428-AFA1A2516319}"/>
          </ac:graphicFrameMkLst>
        </pc:graphicFrameChg>
      </pc:sldChg>
      <pc:sldMasterChg chg="addSp delSp modSp mod modSldLayout">
        <pc:chgData name="van Leeuwen  Sara (VPPL)" userId="7a5f1df4-0dd0-4c9e-a72f-a035cf318af6" providerId="ADAL" clId="{AAA37DE2-93D3-44F8-BE87-C19EC6771CD3}" dt="2023-09-21T08:01:08.282" v="15400"/>
        <pc:sldMasterMkLst>
          <pc:docMk/>
          <pc:sldMasterMk cId="409606273" sldId="2147483648"/>
        </pc:sldMasterMkLst>
        <pc:spChg chg="mod">
          <ac:chgData name="van Leeuwen  Sara (VPPL)" userId="7a5f1df4-0dd0-4c9e-a72f-a035cf318af6" providerId="ADAL" clId="{AAA37DE2-93D3-44F8-BE87-C19EC6771CD3}" dt="2023-09-21T08:01:07.653" v="13507" actId="948"/>
          <ac:spMkLst>
            <pc:docMk/>
            <pc:sldMasterMk cId="409606273" sldId="2147483648"/>
            <ac:spMk id="2" creationId="{29CEF804-E58C-481B-A606-7D35AF68FF55}"/>
          </ac:spMkLst>
        </pc:spChg>
        <pc:spChg chg="mod">
          <ac:chgData name="van Leeuwen  Sara (VPPL)" userId="7a5f1df4-0dd0-4c9e-a72f-a035cf318af6" providerId="ADAL" clId="{AAA37DE2-93D3-44F8-BE87-C19EC6771CD3}" dt="2023-09-21T07:58:43.940" v="4758" actId="790"/>
          <ac:spMkLst>
            <pc:docMk/>
            <pc:sldMasterMk cId="409606273" sldId="2147483648"/>
            <ac:spMk id="3" creationId="{65C6EC0D-393C-42F2-B6A7-B19C9B098F2D}"/>
          </ac:spMkLst>
        </pc:spChg>
        <pc:spChg chg="mod">
          <ac:chgData name="van Leeuwen  Sara (VPPL)" userId="7a5f1df4-0dd0-4c9e-a72f-a035cf318af6" providerId="ADAL" clId="{AAA37DE2-93D3-44F8-BE87-C19EC6771CD3}" dt="2023-09-21T07:58:43.950" v="4759" actId="790"/>
          <ac:spMkLst>
            <pc:docMk/>
            <pc:sldMasterMk cId="409606273" sldId="2147483648"/>
            <ac:spMk id="4" creationId="{37C96E51-36C9-4BEE-A761-33378A0DF03D}"/>
          </ac:spMkLst>
        </pc:spChg>
        <pc:spChg chg="mod">
          <ac:chgData name="van Leeuwen  Sara (VPPL)" userId="7a5f1df4-0dd0-4c9e-a72f-a035cf318af6" providerId="ADAL" clId="{AAA37DE2-93D3-44F8-BE87-C19EC6771CD3}" dt="2023-09-21T08:01:07.385" v="12578" actId="790"/>
          <ac:spMkLst>
            <pc:docMk/>
            <pc:sldMasterMk cId="409606273" sldId="2147483648"/>
            <ac:spMk id="5" creationId="{411EC403-6E63-4450-AFDD-66CA49D6CCBE}"/>
          </ac:spMkLst>
        </pc:spChg>
        <pc:spChg chg="mod">
          <ac:chgData name="van Leeuwen  Sara (VPPL)" userId="7a5f1df4-0dd0-4c9e-a72f-a035cf318af6" providerId="ADAL" clId="{AAA37DE2-93D3-44F8-BE87-C19EC6771CD3}" dt="2023-09-21T07:58:43.950" v="4761" actId="790"/>
          <ac:spMkLst>
            <pc:docMk/>
            <pc:sldMasterMk cId="409606273" sldId="2147483648"/>
            <ac:spMk id="6" creationId="{7FDFCC57-7DDC-4B2C-A6BE-862DAF9C9F11}"/>
          </ac:spMkLst>
        </pc:spChg>
        <pc:spChg chg="add del mod modVis">
          <ac:chgData name="van Leeuwen  Sara (VPPL)" userId="7a5f1df4-0dd0-4c9e-a72f-a035cf318af6" providerId="ADAL" clId="{AAA37DE2-93D3-44F8-BE87-C19EC6771CD3}" dt="2023-09-21T08:01:08.115" v="15235" actId="478"/>
          <ac:spMkLst>
            <pc:docMk/>
            <pc:sldMasterMk cId="409606273" sldId="2147483648"/>
            <ac:spMk id="7" creationId="{A3200486-EBDE-9AD4-43E2-586CC2006ACE}"/>
          </ac:spMkLst>
        </pc:spChg>
        <pc:graphicFrameChg chg="mod">
          <ac:chgData name="van Leeuwen  Sara (VPPL)" userId="7a5f1df4-0dd0-4c9e-a72f-a035cf318af6" providerId="ADAL" clId="{AAA37DE2-93D3-44F8-BE87-C19EC6771CD3}" dt="2023-09-21T08:01:08.156" v="15336"/>
          <ac:graphicFrameMkLst>
            <pc:docMk/>
            <pc:sldMasterMk cId="409606273" sldId="2147483648"/>
            <ac:graphicFrameMk id="8" creationId="{6F709FE4-B19A-40E5-B994-8FBD3E2929F5}"/>
          </ac:graphicFrameMkLst>
        </pc:graphicFrameChg>
        <pc:sldLayoutChg chg="addSp delSp modSp mod">
          <pc:chgData name="van Leeuwen  Sara (VPPL)" userId="7a5f1df4-0dd0-4c9e-a72f-a035cf318af6" providerId="ADAL" clId="{AAA37DE2-93D3-44F8-BE87-C19EC6771CD3}" dt="2023-09-21T08:01:08.203" v="15362"/>
          <pc:sldLayoutMkLst>
            <pc:docMk/>
            <pc:sldMasterMk cId="409606273" sldId="2147483648"/>
            <pc:sldLayoutMk cId="4293381049" sldId="2147483649"/>
          </pc:sldLayoutMkLst>
          <pc:spChg chg="mod">
            <ac:chgData name="van Leeuwen  Sara (VPPL)" userId="7a5f1df4-0dd0-4c9e-a72f-a035cf318af6" providerId="ADAL" clId="{AAA37DE2-93D3-44F8-BE87-C19EC6771CD3}" dt="2023-09-21T08:01:07.669" v="13543" actId="948"/>
            <ac:spMkLst>
              <pc:docMk/>
              <pc:sldMasterMk cId="409606273" sldId="2147483648"/>
              <pc:sldLayoutMk cId="4293381049" sldId="2147483649"/>
              <ac:spMk id="2" creationId="{3491294E-BEE7-4DA8-BBC8-88E1A7B07AEF}"/>
            </ac:spMkLst>
          </pc:spChg>
          <pc:spChg chg="add del mod modVis">
            <ac:chgData name="van Leeuwen  Sara (VPPL)" userId="7a5f1df4-0dd0-4c9e-a72f-a035cf318af6" providerId="ADAL" clId="{AAA37DE2-93D3-44F8-BE87-C19EC6771CD3}" dt="2023-09-21T08:01:08.115" v="15237" actId="478"/>
            <ac:spMkLst>
              <pc:docMk/>
              <pc:sldMasterMk cId="409606273" sldId="2147483648"/>
              <pc:sldLayoutMk cId="4293381049" sldId="2147483649"/>
              <ac:spMk id="3" creationId="{0800E9A0-9746-55BA-D55E-8C2AF14777C8}"/>
            </ac:spMkLst>
          </pc:spChg>
          <pc:spChg chg="mod">
            <ac:chgData name="van Leeuwen  Sara (VPPL)" userId="7a5f1df4-0dd0-4c9e-a72f-a035cf318af6" providerId="ADAL" clId="{AAA37DE2-93D3-44F8-BE87-C19EC6771CD3}" dt="2023-09-21T07:58:43.966" v="4765" actId="790"/>
            <ac:spMkLst>
              <pc:docMk/>
              <pc:sldMasterMk cId="409606273" sldId="2147483648"/>
              <pc:sldLayoutMk cId="4293381049" sldId="2147483649"/>
              <ac:spMk id="4" creationId="{EE41BE31-9613-4103-99FF-7DCFF643B329}"/>
            </ac:spMkLst>
          </pc:spChg>
          <pc:spChg chg="mod">
            <ac:chgData name="van Leeuwen  Sara (VPPL)" userId="7a5f1df4-0dd0-4c9e-a72f-a035cf318af6" providerId="ADAL" clId="{AAA37DE2-93D3-44F8-BE87-C19EC6771CD3}" dt="2023-09-21T07:58:43.950" v="4762" actId="790"/>
            <ac:spMkLst>
              <pc:docMk/>
              <pc:sldMasterMk cId="409606273" sldId="2147483648"/>
              <pc:sldLayoutMk cId="4293381049" sldId="2147483649"/>
              <ac:spMk id="5" creationId="{EB061823-3F7A-48C8-8477-B410C18AC1B7}"/>
            </ac:spMkLst>
          </pc:spChg>
          <pc:spChg chg="mod">
            <ac:chgData name="van Leeuwen  Sara (VPPL)" userId="7a5f1df4-0dd0-4c9e-a72f-a035cf318af6" providerId="ADAL" clId="{AAA37DE2-93D3-44F8-BE87-C19EC6771CD3}" dt="2023-09-21T07:58:43.966" v="4766" actId="790"/>
            <ac:spMkLst>
              <pc:docMk/>
              <pc:sldMasterMk cId="409606273" sldId="2147483648"/>
              <pc:sldLayoutMk cId="4293381049" sldId="2147483649"/>
              <ac:spMk id="6" creationId="{EDEB298C-798E-4D73-9DD6-F896C06530C1}"/>
            </ac:spMkLst>
          </pc:spChg>
          <pc:spChg chg="mod">
            <ac:chgData name="van Leeuwen  Sara (VPPL)" userId="7a5f1df4-0dd0-4c9e-a72f-a035cf318af6" providerId="ADAL" clId="{AAA37DE2-93D3-44F8-BE87-C19EC6771CD3}" dt="2023-09-21T07:58:43.966" v="4764" actId="790"/>
            <ac:spMkLst>
              <pc:docMk/>
              <pc:sldMasterMk cId="409606273" sldId="2147483648"/>
              <pc:sldLayoutMk cId="4293381049" sldId="2147483649"/>
              <ac:spMk id="9" creationId="{C3C296D1-2CD0-479F-A866-6EC741D2293B}"/>
            </ac:spMkLst>
          </pc:spChg>
          <pc:graphicFrameChg chg="mod">
            <ac:chgData name="van Leeuwen  Sara (VPPL)" userId="7a5f1df4-0dd0-4c9e-a72f-a035cf318af6" providerId="ADAL" clId="{AAA37DE2-93D3-44F8-BE87-C19EC6771CD3}" dt="2023-09-21T08:01:08.203" v="15362"/>
            <ac:graphicFrameMkLst>
              <pc:docMk/>
              <pc:sldMasterMk cId="409606273" sldId="2147483648"/>
              <pc:sldLayoutMk cId="4293381049" sldId="2147483649"/>
              <ac:graphicFrameMk id="7" creationId="{F54F1400-795F-A074-DA62-57F93CA534FC}"/>
            </ac:graphicFrameMkLst>
          </pc:graphicFrameChg>
        </pc:sldLayoutChg>
        <pc:sldLayoutChg chg="addSp delSp modSp mod">
          <pc:chgData name="van Leeuwen  Sara (VPPL)" userId="7a5f1df4-0dd0-4c9e-a72f-a035cf318af6" providerId="ADAL" clId="{AAA37DE2-93D3-44F8-BE87-C19EC6771CD3}" dt="2023-09-21T08:01:08.219" v="15370"/>
          <pc:sldLayoutMkLst>
            <pc:docMk/>
            <pc:sldMasterMk cId="409606273" sldId="2147483648"/>
            <pc:sldLayoutMk cId="2221599722" sldId="2147483650"/>
          </pc:sldLayoutMkLst>
          <pc:spChg chg="mod">
            <ac:chgData name="van Leeuwen  Sara (VPPL)" userId="7a5f1df4-0dd0-4c9e-a72f-a035cf318af6" providerId="ADAL" clId="{AAA37DE2-93D3-44F8-BE87-C19EC6771CD3}" dt="2023-09-21T08:01:07.716" v="13687" actId="948"/>
            <ac:spMkLst>
              <pc:docMk/>
              <pc:sldMasterMk cId="409606273" sldId="2147483648"/>
              <pc:sldLayoutMk cId="2221599722" sldId="2147483650"/>
              <ac:spMk id="2" creationId="{3346F7F9-CBC8-4641-B12B-7E76FD213E12}"/>
            </ac:spMkLst>
          </pc:spChg>
          <pc:spChg chg="mod">
            <ac:chgData name="van Leeuwen  Sara (VPPL)" userId="7a5f1df4-0dd0-4c9e-a72f-a035cf318af6" providerId="ADAL" clId="{AAA37DE2-93D3-44F8-BE87-C19EC6771CD3}" dt="2023-09-21T07:58:44.040" v="4790" actId="790"/>
            <ac:spMkLst>
              <pc:docMk/>
              <pc:sldMasterMk cId="409606273" sldId="2147483648"/>
              <pc:sldLayoutMk cId="2221599722" sldId="2147483650"/>
              <ac:spMk id="3" creationId="{87D3E2EF-5F98-49EC-BCEA-B215D49920A3}"/>
            </ac:spMkLst>
          </pc:spChg>
          <pc:spChg chg="mod">
            <ac:chgData name="van Leeuwen  Sara (VPPL)" userId="7a5f1df4-0dd0-4c9e-a72f-a035cf318af6" providerId="ADAL" clId="{AAA37DE2-93D3-44F8-BE87-C19EC6771CD3}" dt="2023-09-21T07:58:44.040" v="4791" actId="790"/>
            <ac:spMkLst>
              <pc:docMk/>
              <pc:sldMasterMk cId="409606273" sldId="2147483648"/>
              <pc:sldLayoutMk cId="2221599722" sldId="2147483650"/>
              <ac:spMk id="4" creationId="{67DB21BA-81C0-43DB-A42C-5F672DBC37F2}"/>
            </ac:spMkLst>
          </pc:spChg>
          <pc:spChg chg="mod">
            <ac:chgData name="van Leeuwen  Sara (VPPL)" userId="7a5f1df4-0dd0-4c9e-a72f-a035cf318af6" providerId="ADAL" clId="{AAA37DE2-93D3-44F8-BE87-C19EC6771CD3}" dt="2023-09-21T08:01:07.401" v="12610" actId="790"/>
            <ac:spMkLst>
              <pc:docMk/>
              <pc:sldMasterMk cId="409606273" sldId="2147483648"/>
              <pc:sldLayoutMk cId="2221599722" sldId="2147483650"/>
              <ac:spMk id="5" creationId="{1BC78786-28C3-4EAB-A3FC-1A4BFA8447EC}"/>
            </ac:spMkLst>
          </pc:spChg>
          <pc:spChg chg="mod">
            <ac:chgData name="van Leeuwen  Sara (VPPL)" userId="7a5f1df4-0dd0-4c9e-a72f-a035cf318af6" providerId="ADAL" clId="{AAA37DE2-93D3-44F8-BE87-C19EC6771CD3}" dt="2023-09-21T07:58:44.045" v="4793" actId="790"/>
            <ac:spMkLst>
              <pc:docMk/>
              <pc:sldMasterMk cId="409606273" sldId="2147483648"/>
              <pc:sldLayoutMk cId="2221599722" sldId="2147483650"/>
              <ac:spMk id="6" creationId="{0FC1D5C1-A4AD-42D4-93B7-D3B71140E3A1}"/>
            </ac:spMkLst>
          </pc:spChg>
          <pc:spChg chg="add del mod modVis">
            <ac:chgData name="van Leeuwen  Sara (VPPL)" userId="7a5f1df4-0dd0-4c9e-a72f-a035cf318af6" providerId="ADAL" clId="{AAA37DE2-93D3-44F8-BE87-C19EC6771CD3}" dt="2023-09-21T08:01:08.115" v="15245" actId="478"/>
            <ac:spMkLst>
              <pc:docMk/>
              <pc:sldMasterMk cId="409606273" sldId="2147483648"/>
              <pc:sldLayoutMk cId="2221599722" sldId="2147483650"/>
              <ac:spMk id="8" creationId="{5BBF80FC-6A85-76F7-512B-9B80B4569347}"/>
            </ac:spMkLst>
          </pc:spChg>
          <pc:graphicFrameChg chg="mod">
            <ac:chgData name="van Leeuwen  Sara (VPPL)" userId="7a5f1df4-0dd0-4c9e-a72f-a035cf318af6" providerId="ADAL" clId="{AAA37DE2-93D3-44F8-BE87-C19EC6771CD3}" dt="2023-09-21T08:01:08.219" v="15370"/>
            <ac:graphicFrameMkLst>
              <pc:docMk/>
              <pc:sldMasterMk cId="409606273" sldId="2147483648"/>
              <pc:sldLayoutMk cId="2221599722" sldId="2147483650"/>
              <ac:graphicFrameMk id="9" creationId="{BF295A86-8B6C-B768-F750-85279E01609A}"/>
            </ac:graphicFrameMkLst>
          </pc:graphicFrameChg>
        </pc:sldLayoutChg>
        <pc:sldLayoutChg chg="addSp delSp modSp mod">
          <pc:chgData name="van Leeuwen  Sara (VPPL)" userId="7a5f1df4-0dd0-4c9e-a72f-a035cf318af6" providerId="ADAL" clId="{AAA37DE2-93D3-44F8-BE87-C19EC6771CD3}" dt="2023-09-21T08:01:08.215" v="15364"/>
          <pc:sldLayoutMkLst>
            <pc:docMk/>
            <pc:sldMasterMk cId="409606273" sldId="2147483648"/>
            <pc:sldLayoutMk cId="100241141" sldId="2147483651"/>
          </pc:sldLayoutMkLst>
          <pc:spChg chg="mod">
            <ac:chgData name="van Leeuwen  Sara (VPPL)" userId="7a5f1df4-0dd0-4c9e-a72f-a035cf318af6" providerId="ADAL" clId="{AAA37DE2-93D3-44F8-BE87-C19EC6771CD3}" dt="2023-09-21T08:01:07.669" v="13579" actId="948"/>
            <ac:spMkLst>
              <pc:docMk/>
              <pc:sldMasterMk cId="409606273" sldId="2147483648"/>
              <pc:sldLayoutMk cId="100241141" sldId="2147483651"/>
              <ac:spMk id="2" creationId="{3491294E-BEE7-4DA8-BBC8-88E1A7B07AEF}"/>
            </ac:spMkLst>
          </pc:spChg>
          <pc:spChg chg="add del mod modVis">
            <ac:chgData name="van Leeuwen  Sara (VPPL)" userId="7a5f1df4-0dd0-4c9e-a72f-a035cf318af6" providerId="ADAL" clId="{AAA37DE2-93D3-44F8-BE87-C19EC6771CD3}" dt="2023-09-21T08:01:08.115" v="15239" actId="478"/>
            <ac:spMkLst>
              <pc:docMk/>
              <pc:sldMasterMk cId="409606273" sldId="2147483648"/>
              <pc:sldLayoutMk cId="100241141" sldId="2147483651"/>
              <ac:spMk id="3" creationId="{B8239E7A-1605-7A1E-FEDF-C3E0F3CF6136}"/>
            </ac:spMkLst>
          </pc:spChg>
          <pc:spChg chg="mod">
            <ac:chgData name="van Leeuwen  Sara (VPPL)" userId="7a5f1df4-0dd0-4c9e-a72f-a035cf318af6" providerId="ADAL" clId="{AAA37DE2-93D3-44F8-BE87-C19EC6771CD3}" dt="2023-09-21T07:58:43.982" v="4771" actId="790"/>
            <ac:spMkLst>
              <pc:docMk/>
              <pc:sldMasterMk cId="409606273" sldId="2147483648"/>
              <pc:sldLayoutMk cId="100241141" sldId="2147483651"/>
              <ac:spMk id="8" creationId="{547D2927-4A99-4714-8EBA-F773EAA26308}"/>
            </ac:spMkLst>
          </pc:spChg>
          <pc:spChg chg="mod">
            <ac:chgData name="van Leeuwen  Sara (VPPL)" userId="7a5f1df4-0dd0-4c9e-a72f-a035cf318af6" providerId="ADAL" clId="{AAA37DE2-93D3-44F8-BE87-C19EC6771CD3}" dt="2023-09-21T07:58:43.982" v="4769" actId="790"/>
            <ac:spMkLst>
              <pc:docMk/>
              <pc:sldMasterMk cId="409606273" sldId="2147483648"/>
              <pc:sldLayoutMk cId="100241141" sldId="2147483651"/>
              <ac:spMk id="9" creationId="{003A487C-8977-4264-A8A1-D6C1DB604682}"/>
            </ac:spMkLst>
          </pc:spChg>
          <pc:spChg chg="mod">
            <ac:chgData name="van Leeuwen  Sara (VPPL)" userId="7a5f1df4-0dd0-4c9e-a72f-a035cf318af6" providerId="ADAL" clId="{AAA37DE2-93D3-44F8-BE87-C19EC6771CD3}" dt="2023-09-21T07:58:43.966" v="4767" actId="790"/>
            <ac:spMkLst>
              <pc:docMk/>
              <pc:sldMasterMk cId="409606273" sldId="2147483648"/>
              <pc:sldLayoutMk cId="100241141" sldId="2147483651"/>
              <ac:spMk id="11" creationId="{8A01615F-450E-43D0-B554-DA3FBD48DF34}"/>
            </ac:spMkLst>
          </pc:spChg>
          <pc:spChg chg="mod">
            <ac:chgData name="van Leeuwen  Sara (VPPL)" userId="7a5f1df4-0dd0-4c9e-a72f-a035cf318af6" providerId="ADAL" clId="{AAA37DE2-93D3-44F8-BE87-C19EC6771CD3}" dt="2023-09-21T07:58:43.982" v="4770" actId="790"/>
            <ac:spMkLst>
              <pc:docMk/>
              <pc:sldMasterMk cId="409606273" sldId="2147483648"/>
              <pc:sldLayoutMk cId="100241141" sldId="2147483651"/>
              <ac:spMk id="13" creationId="{E91D3734-CD8F-4F94-A813-570EF31C4732}"/>
            </ac:spMkLst>
          </pc:spChg>
          <pc:graphicFrameChg chg="mod">
            <ac:chgData name="van Leeuwen  Sara (VPPL)" userId="7a5f1df4-0dd0-4c9e-a72f-a035cf318af6" providerId="ADAL" clId="{AAA37DE2-93D3-44F8-BE87-C19EC6771CD3}" dt="2023-09-21T08:01:08.215" v="15364"/>
            <ac:graphicFrameMkLst>
              <pc:docMk/>
              <pc:sldMasterMk cId="409606273" sldId="2147483648"/>
              <pc:sldLayoutMk cId="100241141" sldId="2147483651"/>
              <ac:graphicFrameMk id="4" creationId="{9DBC9D52-5E1A-FE24-5D2D-8CE881468EDF}"/>
            </ac:graphicFrameMkLst>
          </pc:graphicFrameChg>
        </pc:sldLayoutChg>
        <pc:sldLayoutChg chg="addSp delSp modSp mod">
          <pc:chgData name="van Leeuwen  Sara (VPPL)" userId="7a5f1df4-0dd0-4c9e-a72f-a035cf318af6" providerId="ADAL" clId="{AAA37DE2-93D3-44F8-BE87-C19EC6771CD3}" dt="2023-09-21T08:01:08.219" v="15366"/>
          <pc:sldLayoutMkLst>
            <pc:docMk/>
            <pc:sldMasterMk cId="409606273" sldId="2147483648"/>
            <pc:sldLayoutMk cId="3924069494" sldId="2147483652"/>
          </pc:sldLayoutMkLst>
          <pc:spChg chg="mod">
            <ac:chgData name="van Leeuwen  Sara (VPPL)" userId="7a5f1df4-0dd0-4c9e-a72f-a035cf318af6" providerId="ADAL" clId="{AAA37DE2-93D3-44F8-BE87-C19EC6771CD3}" dt="2023-09-21T08:01:07.685" v="13615" actId="948"/>
            <ac:spMkLst>
              <pc:docMk/>
              <pc:sldMasterMk cId="409606273" sldId="2147483648"/>
              <pc:sldLayoutMk cId="3924069494" sldId="2147483652"/>
              <ac:spMk id="2" creationId="{3491294E-BEE7-4DA8-BBC8-88E1A7B07AEF}"/>
            </ac:spMkLst>
          </pc:spChg>
          <pc:spChg chg="mod">
            <ac:chgData name="van Leeuwen  Sara (VPPL)" userId="7a5f1df4-0dd0-4c9e-a72f-a035cf318af6" providerId="ADAL" clId="{AAA37DE2-93D3-44F8-BE87-C19EC6771CD3}" dt="2023-09-21T08:01:07.385" v="12593" actId="20577"/>
            <ac:spMkLst>
              <pc:docMk/>
              <pc:sldMasterMk cId="409606273" sldId="2147483648"/>
              <pc:sldLayoutMk cId="3924069494" sldId="2147483652"/>
              <ac:spMk id="3" creationId="{62D94F76-218E-49F2-87F8-05982912ED18}"/>
            </ac:spMkLst>
          </pc:spChg>
          <pc:spChg chg="add del mod modVis">
            <ac:chgData name="van Leeuwen  Sara (VPPL)" userId="7a5f1df4-0dd0-4c9e-a72f-a035cf318af6" providerId="ADAL" clId="{AAA37DE2-93D3-44F8-BE87-C19EC6771CD3}" dt="2023-09-21T08:01:08.115" v="15241" actId="478"/>
            <ac:spMkLst>
              <pc:docMk/>
              <pc:sldMasterMk cId="409606273" sldId="2147483648"/>
              <pc:sldLayoutMk cId="3924069494" sldId="2147483652"/>
              <ac:spMk id="4" creationId="{E9A4E176-0846-63CA-1515-EC539F12F6EB}"/>
            </ac:spMkLst>
          </pc:spChg>
          <pc:spChg chg="mod">
            <ac:chgData name="van Leeuwen  Sara (VPPL)" userId="7a5f1df4-0dd0-4c9e-a72f-a035cf318af6" providerId="ADAL" clId="{AAA37DE2-93D3-44F8-BE87-C19EC6771CD3}" dt="2023-09-21T07:58:43.997" v="4777" actId="790"/>
            <ac:spMkLst>
              <pc:docMk/>
              <pc:sldMasterMk cId="409606273" sldId="2147483648"/>
              <pc:sldLayoutMk cId="3924069494" sldId="2147483652"/>
              <ac:spMk id="7" creationId="{0503E57F-F89F-431B-8D38-7CC97B7C201A}"/>
            </ac:spMkLst>
          </pc:spChg>
          <pc:spChg chg="mod">
            <ac:chgData name="van Leeuwen  Sara (VPPL)" userId="7a5f1df4-0dd0-4c9e-a72f-a035cf318af6" providerId="ADAL" clId="{AAA37DE2-93D3-44F8-BE87-C19EC6771CD3}" dt="2023-09-21T07:58:43.997" v="4779" actId="790"/>
            <ac:spMkLst>
              <pc:docMk/>
              <pc:sldMasterMk cId="409606273" sldId="2147483648"/>
              <pc:sldLayoutMk cId="3924069494" sldId="2147483652"/>
              <ac:spMk id="8" creationId="{4ADF7DEC-21BD-45CA-9E91-B9F58A69F621}"/>
            </ac:spMkLst>
          </pc:spChg>
          <pc:spChg chg="mod">
            <ac:chgData name="van Leeuwen  Sara (VPPL)" userId="7a5f1df4-0dd0-4c9e-a72f-a035cf318af6" providerId="ADAL" clId="{AAA37DE2-93D3-44F8-BE87-C19EC6771CD3}" dt="2023-09-21T07:58:43.997" v="4778" actId="790"/>
            <ac:spMkLst>
              <pc:docMk/>
              <pc:sldMasterMk cId="409606273" sldId="2147483648"/>
              <pc:sldLayoutMk cId="3924069494" sldId="2147483652"/>
              <ac:spMk id="12" creationId="{1BEB6197-C509-4752-B57E-CEE955F5D926}"/>
            </ac:spMkLst>
          </pc:spChg>
          <pc:graphicFrameChg chg="mod">
            <ac:chgData name="van Leeuwen  Sara (VPPL)" userId="7a5f1df4-0dd0-4c9e-a72f-a035cf318af6" providerId="ADAL" clId="{AAA37DE2-93D3-44F8-BE87-C19EC6771CD3}" dt="2023-09-21T08:01:08.219" v="15366"/>
            <ac:graphicFrameMkLst>
              <pc:docMk/>
              <pc:sldMasterMk cId="409606273" sldId="2147483648"/>
              <pc:sldLayoutMk cId="3924069494" sldId="2147483652"/>
              <ac:graphicFrameMk id="5" creationId="{E4ACFB11-02C2-93C8-0231-17EB5B054693}"/>
            </ac:graphicFrameMkLst>
          </pc:graphicFrameChg>
        </pc:sldLayoutChg>
        <pc:sldLayoutChg chg="addSp delSp modSp mod">
          <pc:chgData name="van Leeuwen  Sara (VPPL)" userId="7a5f1df4-0dd0-4c9e-a72f-a035cf318af6" providerId="ADAL" clId="{AAA37DE2-93D3-44F8-BE87-C19EC6771CD3}" dt="2023-09-21T08:01:08.203" v="15358"/>
          <pc:sldLayoutMkLst>
            <pc:docMk/>
            <pc:sldMasterMk cId="409606273" sldId="2147483648"/>
            <pc:sldLayoutMk cId="732532068" sldId="2147483653"/>
          </pc:sldLayoutMkLst>
          <pc:spChg chg="mod">
            <ac:chgData name="van Leeuwen  Sara (VPPL)" userId="7a5f1df4-0dd0-4c9e-a72f-a035cf318af6" providerId="ADAL" clId="{AAA37DE2-93D3-44F8-BE87-C19EC6771CD3}" dt="2023-09-21T08:01:07.638" v="13435" actId="948"/>
            <ac:spMkLst>
              <pc:docMk/>
              <pc:sldMasterMk cId="409606273" sldId="2147483648"/>
              <pc:sldLayoutMk cId="732532068" sldId="2147483653"/>
              <ac:spMk id="2" creationId="{3491294E-BEE7-4DA8-BBC8-88E1A7B07AEF}"/>
            </ac:spMkLst>
          </pc:spChg>
          <pc:spChg chg="add del mod modVis">
            <ac:chgData name="van Leeuwen  Sara (VPPL)" userId="7a5f1df4-0dd0-4c9e-a72f-a035cf318af6" providerId="ADAL" clId="{AAA37DE2-93D3-44F8-BE87-C19EC6771CD3}" dt="2023-09-21T08:01:08.115" v="15231" actId="478"/>
            <ac:spMkLst>
              <pc:docMk/>
              <pc:sldMasterMk cId="409606273" sldId="2147483648"/>
              <pc:sldLayoutMk cId="732532068" sldId="2147483653"/>
              <ac:spMk id="3" creationId="{A5686F79-DF7D-4429-7B3B-B6809FBC435C}"/>
            </ac:spMkLst>
          </pc:spChg>
          <pc:spChg chg="mod">
            <ac:chgData name="van Leeuwen  Sara (VPPL)" userId="7a5f1df4-0dd0-4c9e-a72f-a035cf318af6" providerId="ADAL" clId="{AAA37DE2-93D3-44F8-BE87-C19EC6771CD3}" dt="2023-09-21T07:58:43.997" v="4781" actId="790"/>
            <ac:spMkLst>
              <pc:docMk/>
              <pc:sldMasterMk cId="409606273" sldId="2147483648"/>
              <pc:sldLayoutMk cId="732532068" sldId="2147483653"/>
              <ac:spMk id="6" creationId="{5FCAD79B-EF47-46A0-9575-229F3DAA72F5}"/>
            </ac:spMkLst>
          </pc:spChg>
          <pc:spChg chg="mod">
            <ac:chgData name="van Leeuwen  Sara (VPPL)" userId="7a5f1df4-0dd0-4c9e-a72f-a035cf318af6" providerId="ADAL" clId="{AAA37DE2-93D3-44F8-BE87-C19EC6771CD3}" dt="2023-09-21T07:58:44.014" v="4783" actId="790"/>
            <ac:spMkLst>
              <pc:docMk/>
              <pc:sldMasterMk cId="409606273" sldId="2147483648"/>
              <pc:sldLayoutMk cId="732532068" sldId="2147483653"/>
              <ac:spMk id="7" creationId="{789A3267-E086-4EC3-A0BB-F8ECD01A5C7E}"/>
            </ac:spMkLst>
          </pc:spChg>
          <pc:spChg chg="mod">
            <ac:chgData name="van Leeuwen  Sara (VPPL)" userId="7a5f1df4-0dd0-4c9e-a72f-a035cf318af6" providerId="ADAL" clId="{AAA37DE2-93D3-44F8-BE87-C19EC6771CD3}" dt="2023-09-21T07:58:44.014" v="4782" actId="790"/>
            <ac:spMkLst>
              <pc:docMk/>
              <pc:sldMasterMk cId="409606273" sldId="2147483648"/>
              <pc:sldLayoutMk cId="732532068" sldId="2147483653"/>
              <ac:spMk id="8" creationId="{72236FC6-C8FF-43C1-86B9-BF112345926F}"/>
            </ac:spMkLst>
          </pc:spChg>
          <pc:graphicFrameChg chg="mod">
            <ac:chgData name="van Leeuwen  Sara (VPPL)" userId="7a5f1df4-0dd0-4c9e-a72f-a035cf318af6" providerId="ADAL" clId="{AAA37DE2-93D3-44F8-BE87-C19EC6771CD3}" dt="2023-09-21T08:01:08.203" v="15358"/>
            <ac:graphicFrameMkLst>
              <pc:docMk/>
              <pc:sldMasterMk cId="409606273" sldId="2147483648"/>
              <pc:sldLayoutMk cId="732532068" sldId="2147483653"/>
              <ac:graphicFrameMk id="4" creationId="{DA664350-A5E5-3088-B899-6D2BE8FC1A6D}"/>
            </ac:graphicFrameMkLst>
          </pc:graphicFrameChg>
        </pc:sldLayoutChg>
        <pc:sldLayoutChg chg="addSp delSp modSp mod">
          <pc:chgData name="van Leeuwen  Sara (VPPL)" userId="7a5f1df4-0dd0-4c9e-a72f-a035cf318af6" providerId="ADAL" clId="{AAA37DE2-93D3-44F8-BE87-C19EC6771CD3}" dt="2023-09-21T08:01:08.156" v="15338"/>
          <pc:sldLayoutMkLst>
            <pc:docMk/>
            <pc:sldMasterMk cId="409606273" sldId="2147483648"/>
            <pc:sldLayoutMk cId="2789257521" sldId="2147483654"/>
          </pc:sldLayoutMkLst>
          <pc:spChg chg="mod">
            <ac:chgData name="van Leeuwen  Sara (VPPL)" userId="7a5f1df4-0dd0-4c9e-a72f-a035cf318af6" providerId="ADAL" clId="{AAA37DE2-93D3-44F8-BE87-C19EC6771CD3}" dt="2023-09-21T08:01:07.700" v="13651" actId="948"/>
            <ac:spMkLst>
              <pc:docMk/>
              <pc:sldMasterMk cId="409606273" sldId="2147483648"/>
              <pc:sldLayoutMk cId="2789257521" sldId="2147483654"/>
              <ac:spMk id="2" creationId="{3491294E-BEE7-4DA8-BBC8-88E1A7B07AEF}"/>
            </ac:spMkLst>
          </pc:spChg>
          <pc:spChg chg="add del mod modVis">
            <ac:chgData name="van Leeuwen  Sara (VPPL)" userId="7a5f1df4-0dd0-4c9e-a72f-a035cf318af6" providerId="ADAL" clId="{AAA37DE2-93D3-44F8-BE87-C19EC6771CD3}" dt="2023-09-21T08:01:08.115" v="15243" actId="478"/>
            <ac:spMkLst>
              <pc:docMk/>
              <pc:sldMasterMk cId="409606273" sldId="2147483648"/>
              <pc:sldLayoutMk cId="2789257521" sldId="2147483654"/>
              <ac:spMk id="3" creationId="{F92C8163-51A1-E012-00D9-9FCDD7F1EEBA}"/>
            </ac:spMkLst>
          </pc:spChg>
          <pc:spChg chg="mod">
            <ac:chgData name="van Leeuwen  Sara (VPPL)" userId="7a5f1df4-0dd0-4c9e-a72f-a035cf318af6" providerId="ADAL" clId="{AAA37DE2-93D3-44F8-BE87-C19EC6771CD3}" dt="2023-09-21T07:58:44.014" v="4784" actId="790"/>
            <ac:spMkLst>
              <pc:docMk/>
              <pc:sldMasterMk cId="409606273" sldId="2147483648"/>
              <pc:sldLayoutMk cId="2789257521" sldId="2147483654"/>
              <ac:spMk id="5" creationId="{EB061823-3F7A-48C8-8477-B410C18AC1B7}"/>
            </ac:spMkLst>
          </pc:spChg>
          <pc:spChg chg="mod">
            <ac:chgData name="van Leeuwen  Sara (VPPL)" userId="7a5f1df4-0dd0-4c9e-a72f-a035cf318af6" providerId="ADAL" clId="{AAA37DE2-93D3-44F8-BE87-C19EC6771CD3}" dt="2023-09-21T07:58:44.014" v="4786" actId="790"/>
            <ac:spMkLst>
              <pc:docMk/>
              <pc:sldMasterMk cId="409606273" sldId="2147483648"/>
              <pc:sldLayoutMk cId="2789257521" sldId="2147483654"/>
              <ac:spMk id="7" creationId="{D364BCB8-820F-4C3A-BA37-7048A4C8D4C3}"/>
            </ac:spMkLst>
          </pc:spChg>
          <pc:spChg chg="mod">
            <ac:chgData name="van Leeuwen  Sara (VPPL)" userId="7a5f1df4-0dd0-4c9e-a72f-a035cf318af6" providerId="ADAL" clId="{AAA37DE2-93D3-44F8-BE87-C19EC6771CD3}" dt="2023-09-21T07:58:44.029" v="4788" actId="790"/>
            <ac:spMkLst>
              <pc:docMk/>
              <pc:sldMasterMk cId="409606273" sldId="2147483648"/>
              <pc:sldLayoutMk cId="2789257521" sldId="2147483654"/>
              <ac:spMk id="9" creationId="{791A1AD7-DB7D-4C75-BEFB-EB6D34D3B2AB}"/>
            </ac:spMkLst>
          </pc:spChg>
          <pc:spChg chg="mod">
            <ac:chgData name="van Leeuwen  Sara (VPPL)" userId="7a5f1df4-0dd0-4c9e-a72f-a035cf318af6" providerId="ADAL" clId="{AAA37DE2-93D3-44F8-BE87-C19EC6771CD3}" dt="2023-09-21T07:58:44.014" v="4787" actId="790"/>
            <ac:spMkLst>
              <pc:docMk/>
              <pc:sldMasterMk cId="409606273" sldId="2147483648"/>
              <pc:sldLayoutMk cId="2789257521" sldId="2147483654"/>
              <ac:spMk id="11" creationId="{A73913C2-8DFE-4F15-B2DB-2A6D5C267009}"/>
            </ac:spMkLst>
          </pc:spChg>
          <pc:graphicFrameChg chg="mod">
            <ac:chgData name="van Leeuwen  Sara (VPPL)" userId="7a5f1df4-0dd0-4c9e-a72f-a035cf318af6" providerId="ADAL" clId="{AAA37DE2-93D3-44F8-BE87-C19EC6771CD3}" dt="2023-09-21T08:01:08.156" v="15338"/>
            <ac:graphicFrameMkLst>
              <pc:docMk/>
              <pc:sldMasterMk cId="409606273" sldId="2147483648"/>
              <pc:sldLayoutMk cId="2789257521" sldId="2147483654"/>
              <ac:graphicFrameMk id="6" creationId="{127070BA-5062-3B68-0BB4-A6D0457D1CD7}"/>
            </ac:graphicFrameMkLst>
          </pc:graphicFrameChg>
        </pc:sldLayoutChg>
        <pc:sldLayoutChg chg="addSp delSp modSp mod">
          <pc:chgData name="van Leeuwen  Sara (VPPL)" userId="7a5f1df4-0dd0-4c9e-a72f-a035cf318af6" providerId="ADAL" clId="{AAA37DE2-93D3-44F8-BE87-C19EC6771CD3}" dt="2023-09-21T08:01:08.235" v="15374"/>
          <pc:sldLayoutMkLst>
            <pc:docMk/>
            <pc:sldMasterMk cId="409606273" sldId="2147483648"/>
            <pc:sldLayoutMk cId="1888753134" sldId="2147483655"/>
          </pc:sldLayoutMkLst>
          <pc:spChg chg="mod">
            <ac:chgData name="van Leeuwen  Sara (VPPL)" userId="7a5f1df4-0dd0-4c9e-a72f-a035cf318af6" providerId="ADAL" clId="{AAA37DE2-93D3-44F8-BE87-C19EC6771CD3}" dt="2023-09-21T08:01:07.732" v="13759" actId="948"/>
            <ac:spMkLst>
              <pc:docMk/>
              <pc:sldMasterMk cId="409606273" sldId="2147483648"/>
              <pc:sldLayoutMk cId="1888753134" sldId="2147483655"/>
              <ac:spMk id="2" creationId="{3346F7F9-CBC8-4641-B12B-7E76FD213E12}"/>
            </ac:spMkLst>
          </pc:spChg>
          <pc:spChg chg="mod">
            <ac:chgData name="van Leeuwen  Sara (VPPL)" userId="7a5f1df4-0dd0-4c9e-a72f-a035cf318af6" providerId="ADAL" clId="{AAA37DE2-93D3-44F8-BE87-C19EC6771CD3}" dt="2023-09-21T07:58:44.045" v="4795" actId="790"/>
            <ac:spMkLst>
              <pc:docMk/>
              <pc:sldMasterMk cId="409606273" sldId="2147483648"/>
              <pc:sldLayoutMk cId="1888753134" sldId="2147483655"/>
              <ac:spMk id="3" creationId="{87D3E2EF-5F98-49EC-BCEA-B215D49920A3}"/>
            </ac:spMkLst>
          </pc:spChg>
          <pc:spChg chg="mod">
            <ac:chgData name="van Leeuwen  Sara (VPPL)" userId="7a5f1df4-0dd0-4c9e-a72f-a035cf318af6" providerId="ADAL" clId="{AAA37DE2-93D3-44F8-BE87-C19EC6771CD3}" dt="2023-09-21T07:58:44.045" v="4796" actId="790"/>
            <ac:spMkLst>
              <pc:docMk/>
              <pc:sldMasterMk cId="409606273" sldId="2147483648"/>
              <pc:sldLayoutMk cId="1888753134" sldId="2147483655"/>
              <ac:spMk id="4" creationId="{67DB21BA-81C0-43DB-A42C-5F672DBC37F2}"/>
            </ac:spMkLst>
          </pc:spChg>
          <pc:spChg chg="mod">
            <ac:chgData name="van Leeuwen  Sara (VPPL)" userId="7a5f1df4-0dd0-4c9e-a72f-a035cf318af6" providerId="ADAL" clId="{AAA37DE2-93D3-44F8-BE87-C19EC6771CD3}" dt="2023-09-21T08:01:07.401" v="12615" actId="790"/>
            <ac:spMkLst>
              <pc:docMk/>
              <pc:sldMasterMk cId="409606273" sldId="2147483648"/>
              <pc:sldLayoutMk cId="1888753134" sldId="2147483655"/>
              <ac:spMk id="5" creationId="{1BC78786-28C3-4EAB-A3FC-1A4BFA8447EC}"/>
            </ac:spMkLst>
          </pc:spChg>
          <pc:spChg chg="mod">
            <ac:chgData name="van Leeuwen  Sara (VPPL)" userId="7a5f1df4-0dd0-4c9e-a72f-a035cf318af6" providerId="ADAL" clId="{AAA37DE2-93D3-44F8-BE87-C19EC6771CD3}" dt="2023-09-21T07:58:44.061" v="4798" actId="790"/>
            <ac:spMkLst>
              <pc:docMk/>
              <pc:sldMasterMk cId="409606273" sldId="2147483648"/>
              <pc:sldLayoutMk cId="1888753134" sldId="2147483655"/>
              <ac:spMk id="6" creationId="{0FC1D5C1-A4AD-42D4-93B7-D3B71140E3A1}"/>
            </ac:spMkLst>
          </pc:spChg>
          <pc:spChg chg="add del mod modVis">
            <ac:chgData name="van Leeuwen  Sara (VPPL)" userId="7a5f1df4-0dd0-4c9e-a72f-a035cf318af6" providerId="ADAL" clId="{AAA37DE2-93D3-44F8-BE87-C19EC6771CD3}" dt="2023-09-21T08:01:08.125" v="15249" actId="478"/>
            <ac:spMkLst>
              <pc:docMk/>
              <pc:sldMasterMk cId="409606273" sldId="2147483648"/>
              <pc:sldLayoutMk cId="1888753134" sldId="2147483655"/>
              <ac:spMk id="8" creationId="{2C19981A-8089-91B1-AB71-E9274663CA83}"/>
            </ac:spMkLst>
          </pc:spChg>
          <pc:graphicFrameChg chg="mod">
            <ac:chgData name="van Leeuwen  Sara (VPPL)" userId="7a5f1df4-0dd0-4c9e-a72f-a035cf318af6" providerId="ADAL" clId="{AAA37DE2-93D3-44F8-BE87-C19EC6771CD3}" dt="2023-09-21T08:01:08.235" v="15374"/>
            <ac:graphicFrameMkLst>
              <pc:docMk/>
              <pc:sldMasterMk cId="409606273" sldId="2147483648"/>
              <pc:sldLayoutMk cId="1888753134" sldId="2147483655"/>
              <ac:graphicFrameMk id="9" creationId="{57277A93-F3FF-5C0A-2A20-3CB97AE794AF}"/>
            </ac:graphicFrameMkLst>
          </pc:graphicFrameChg>
        </pc:sldLayoutChg>
        <pc:sldLayoutChg chg="addSp delSp modSp mod">
          <pc:chgData name="van Leeuwen  Sara (VPPL)" userId="7a5f1df4-0dd0-4c9e-a72f-a035cf318af6" providerId="ADAL" clId="{AAA37DE2-93D3-44F8-BE87-C19EC6771CD3}" dt="2023-09-21T08:01:08.219" v="15372"/>
          <pc:sldLayoutMkLst>
            <pc:docMk/>
            <pc:sldMasterMk cId="409606273" sldId="2147483648"/>
            <pc:sldLayoutMk cId="426001722" sldId="2147483656"/>
          </pc:sldLayoutMkLst>
          <pc:spChg chg="mod">
            <ac:chgData name="van Leeuwen  Sara (VPPL)" userId="7a5f1df4-0dd0-4c9e-a72f-a035cf318af6" providerId="ADAL" clId="{AAA37DE2-93D3-44F8-BE87-C19EC6771CD3}" dt="2023-09-21T08:01:07.716" v="13723" actId="948"/>
            <ac:spMkLst>
              <pc:docMk/>
              <pc:sldMasterMk cId="409606273" sldId="2147483648"/>
              <pc:sldLayoutMk cId="426001722" sldId="2147483656"/>
              <ac:spMk id="2" creationId="{3346F7F9-CBC8-4641-B12B-7E76FD213E12}"/>
            </ac:spMkLst>
          </pc:spChg>
          <pc:spChg chg="mod">
            <ac:chgData name="van Leeuwen  Sara (VPPL)" userId="7a5f1df4-0dd0-4c9e-a72f-a035cf318af6" providerId="ADAL" clId="{AAA37DE2-93D3-44F8-BE87-C19EC6771CD3}" dt="2023-09-21T07:58:44.061" v="4800" actId="790"/>
            <ac:spMkLst>
              <pc:docMk/>
              <pc:sldMasterMk cId="409606273" sldId="2147483648"/>
              <pc:sldLayoutMk cId="426001722" sldId="2147483656"/>
              <ac:spMk id="3" creationId="{87D3E2EF-5F98-49EC-BCEA-B215D49920A3}"/>
            </ac:spMkLst>
          </pc:spChg>
          <pc:spChg chg="mod">
            <ac:chgData name="van Leeuwen  Sara (VPPL)" userId="7a5f1df4-0dd0-4c9e-a72f-a035cf318af6" providerId="ADAL" clId="{AAA37DE2-93D3-44F8-BE87-C19EC6771CD3}" dt="2023-09-21T07:58:44.061" v="4801" actId="790"/>
            <ac:spMkLst>
              <pc:docMk/>
              <pc:sldMasterMk cId="409606273" sldId="2147483648"/>
              <pc:sldLayoutMk cId="426001722" sldId="2147483656"/>
              <ac:spMk id="4" creationId="{67DB21BA-81C0-43DB-A42C-5F672DBC37F2}"/>
            </ac:spMkLst>
          </pc:spChg>
          <pc:spChg chg="mod">
            <ac:chgData name="van Leeuwen  Sara (VPPL)" userId="7a5f1df4-0dd0-4c9e-a72f-a035cf318af6" providerId="ADAL" clId="{AAA37DE2-93D3-44F8-BE87-C19EC6771CD3}" dt="2023-09-21T08:01:07.415" v="12620" actId="790"/>
            <ac:spMkLst>
              <pc:docMk/>
              <pc:sldMasterMk cId="409606273" sldId="2147483648"/>
              <pc:sldLayoutMk cId="426001722" sldId="2147483656"/>
              <ac:spMk id="5" creationId="{1BC78786-28C3-4EAB-A3FC-1A4BFA8447EC}"/>
            </ac:spMkLst>
          </pc:spChg>
          <pc:spChg chg="mod">
            <ac:chgData name="van Leeuwen  Sara (VPPL)" userId="7a5f1df4-0dd0-4c9e-a72f-a035cf318af6" providerId="ADAL" clId="{AAA37DE2-93D3-44F8-BE87-C19EC6771CD3}" dt="2023-09-21T07:58:44.077" v="4803" actId="790"/>
            <ac:spMkLst>
              <pc:docMk/>
              <pc:sldMasterMk cId="409606273" sldId="2147483648"/>
              <pc:sldLayoutMk cId="426001722" sldId="2147483656"/>
              <ac:spMk id="6" creationId="{0FC1D5C1-A4AD-42D4-93B7-D3B71140E3A1}"/>
            </ac:spMkLst>
          </pc:spChg>
          <pc:spChg chg="add del mod modVis">
            <ac:chgData name="van Leeuwen  Sara (VPPL)" userId="7a5f1df4-0dd0-4c9e-a72f-a035cf318af6" providerId="ADAL" clId="{AAA37DE2-93D3-44F8-BE87-C19EC6771CD3}" dt="2023-09-21T08:01:08.125" v="15247" actId="478"/>
            <ac:spMkLst>
              <pc:docMk/>
              <pc:sldMasterMk cId="409606273" sldId="2147483648"/>
              <pc:sldLayoutMk cId="426001722" sldId="2147483656"/>
              <ac:spMk id="8" creationId="{8932C654-E96D-DB8F-F416-0A4AAD664BA1}"/>
            </ac:spMkLst>
          </pc:spChg>
          <pc:spChg chg="mod">
            <ac:chgData name="van Leeuwen  Sara (VPPL)" userId="7a5f1df4-0dd0-4c9e-a72f-a035cf318af6" providerId="ADAL" clId="{AAA37DE2-93D3-44F8-BE87-C19EC6771CD3}" dt="2023-09-21T07:58:44.077" v="4804" actId="790"/>
            <ac:spMkLst>
              <pc:docMk/>
              <pc:sldMasterMk cId="409606273" sldId="2147483648"/>
              <pc:sldLayoutMk cId="426001722" sldId="2147483656"/>
              <ac:spMk id="11" creationId="{2F6D94FA-21C6-4AE0-AA4F-3A077810ED93}"/>
            </ac:spMkLst>
          </pc:spChg>
          <pc:graphicFrameChg chg="mod">
            <ac:chgData name="van Leeuwen  Sara (VPPL)" userId="7a5f1df4-0dd0-4c9e-a72f-a035cf318af6" providerId="ADAL" clId="{AAA37DE2-93D3-44F8-BE87-C19EC6771CD3}" dt="2023-09-21T08:01:08.219" v="15372"/>
            <ac:graphicFrameMkLst>
              <pc:docMk/>
              <pc:sldMasterMk cId="409606273" sldId="2147483648"/>
              <pc:sldLayoutMk cId="426001722" sldId="2147483656"/>
              <ac:graphicFrameMk id="9" creationId="{15BB064A-2F5C-25EC-EA57-1B922278268E}"/>
            </ac:graphicFrameMkLst>
          </pc:graphicFrameChg>
        </pc:sldLayoutChg>
        <pc:sldLayoutChg chg="addSp delSp modSp mod">
          <pc:chgData name="van Leeuwen  Sara (VPPL)" userId="7a5f1df4-0dd0-4c9e-a72f-a035cf318af6" providerId="ADAL" clId="{AAA37DE2-93D3-44F8-BE87-C19EC6771CD3}" dt="2023-09-21T08:01:08.235" v="15376"/>
          <pc:sldLayoutMkLst>
            <pc:docMk/>
            <pc:sldMasterMk cId="409606273" sldId="2147483648"/>
            <pc:sldLayoutMk cId="3716835328" sldId="2147483657"/>
          </pc:sldLayoutMkLst>
          <pc:spChg chg="mod">
            <ac:chgData name="van Leeuwen  Sara (VPPL)" userId="7a5f1df4-0dd0-4c9e-a72f-a035cf318af6" providerId="ADAL" clId="{AAA37DE2-93D3-44F8-BE87-C19EC6771CD3}" dt="2023-09-21T08:01:07.748" v="13795" actId="948"/>
            <ac:spMkLst>
              <pc:docMk/>
              <pc:sldMasterMk cId="409606273" sldId="2147483648"/>
              <pc:sldLayoutMk cId="3716835328" sldId="2147483657"/>
              <ac:spMk id="2" creationId="{3346F7F9-CBC8-4641-B12B-7E76FD213E12}"/>
            </ac:spMkLst>
          </pc:spChg>
          <pc:spChg chg="add del mod modVis">
            <ac:chgData name="van Leeuwen  Sara (VPPL)" userId="7a5f1df4-0dd0-4c9e-a72f-a035cf318af6" providerId="ADAL" clId="{AAA37DE2-93D3-44F8-BE87-C19EC6771CD3}" dt="2023-09-21T08:01:08.125" v="15251" actId="478"/>
            <ac:spMkLst>
              <pc:docMk/>
              <pc:sldMasterMk cId="409606273" sldId="2147483648"/>
              <pc:sldLayoutMk cId="3716835328" sldId="2147483657"/>
              <ac:spMk id="3" creationId="{EA68A876-8651-90D3-BA3A-6D3EDCAE7DBB}"/>
            </ac:spMkLst>
          </pc:spChg>
          <pc:spChg chg="mod">
            <ac:chgData name="van Leeuwen  Sara (VPPL)" userId="7a5f1df4-0dd0-4c9e-a72f-a035cf318af6" providerId="ADAL" clId="{AAA37DE2-93D3-44F8-BE87-C19EC6771CD3}" dt="2023-09-21T07:58:44.077" v="4806" actId="790"/>
            <ac:spMkLst>
              <pc:docMk/>
              <pc:sldMasterMk cId="409606273" sldId="2147483648"/>
              <pc:sldLayoutMk cId="3716835328" sldId="2147483657"/>
              <ac:spMk id="4" creationId="{67DB21BA-81C0-43DB-A42C-5F672DBC37F2}"/>
            </ac:spMkLst>
          </pc:spChg>
          <pc:spChg chg="mod">
            <ac:chgData name="van Leeuwen  Sara (VPPL)" userId="7a5f1df4-0dd0-4c9e-a72f-a035cf318af6" providerId="ADAL" clId="{AAA37DE2-93D3-44F8-BE87-C19EC6771CD3}" dt="2023-09-21T08:01:07.417" v="12625" actId="790"/>
            <ac:spMkLst>
              <pc:docMk/>
              <pc:sldMasterMk cId="409606273" sldId="2147483648"/>
              <pc:sldLayoutMk cId="3716835328" sldId="2147483657"/>
              <ac:spMk id="5" creationId="{1BC78786-28C3-4EAB-A3FC-1A4BFA8447EC}"/>
            </ac:spMkLst>
          </pc:spChg>
          <pc:spChg chg="mod">
            <ac:chgData name="van Leeuwen  Sara (VPPL)" userId="7a5f1df4-0dd0-4c9e-a72f-a035cf318af6" providerId="ADAL" clId="{AAA37DE2-93D3-44F8-BE87-C19EC6771CD3}" dt="2023-09-21T07:58:44.093" v="4808" actId="790"/>
            <ac:spMkLst>
              <pc:docMk/>
              <pc:sldMasterMk cId="409606273" sldId="2147483648"/>
              <pc:sldLayoutMk cId="3716835328" sldId="2147483657"/>
              <ac:spMk id="6" creationId="{0FC1D5C1-A4AD-42D4-93B7-D3B71140E3A1}"/>
            </ac:spMkLst>
          </pc:spChg>
          <pc:spChg chg="mod">
            <ac:chgData name="van Leeuwen  Sara (VPPL)" userId="7a5f1df4-0dd0-4c9e-a72f-a035cf318af6" providerId="ADAL" clId="{AAA37DE2-93D3-44F8-BE87-C19EC6771CD3}" dt="2023-09-21T08:01:07.433" v="12666" actId="20577"/>
            <ac:spMkLst>
              <pc:docMk/>
              <pc:sldMasterMk cId="409606273" sldId="2147483648"/>
              <pc:sldLayoutMk cId="3716835328" sldId="2147483657"/>
              <ac:spMk id="13" creationId="{18BB0752-F87C-44D9-A9A5-97AF1DEDA1AE}"/>
            </ac:spMkLst>
          </pc:spChg>
          <pc:spChg chg="mod">
            <ac:chgData name="van Leeuwen  Sara (VPPL)" userId="7a5f1df4-0dd0-4c9e-a72f-a035cf318af6" providerId="ADAL" clId="{AAA37DE2-93D3-44F8-BE87-C19EC6771CD3}" dt="2023-09-21T08:01:07.433" v="12662" actId="20577"/>
            <ac:spMkLst>
              <pc:docMk/>
              <pc:sldMasterMk cId="409606273" sldId="2147483648"/>
              <pc:sldLayoutMk cId="3716835328" sldId="2147483657"/>
              <ac:spMk id="14" creationId="{ED44DE23-7081-4AC9-BF06-502BEC71C004}"/>
            </ac:spMkLst>
          </pc:spChg>
          <pc:spChg chg="mod">
            <ac:chgData name="van Leeuwen  Sara (VPPL)" userId="7a5f1df4-0dd0-4c9e-a72f-a035cf318af6" providerId="ADAL" clId="{AAA37DE2-93D3-44F8-BE87-C19EC6771CD3}" dt="2023-09-21T08:01:07.433" v="12658" actId="20577"/>
            <ac:spMkLst>
              <pc:docMk/>
              <pc:sldMasterMk cId="409606273" sldId="2147483648"/>
              <pc:sldLayoutMk cId="3716835328" sldId="2147483657"/>
              <ac:spMk id="15" creationId="{18C24FD2-AEE2-43CA-8EB3-8E646C2E5E46}"/>
            </ac:spMkLst>
          </pc:spChg>
          <pc:spChg chg="mod">
            <ac:chgData name="van Leeuwen  Sara (VPPL)" userId="7a5f1df4-0dd0-4c9e-a72f-a035cf318af6" providerId="ADAL" clId="{AAA37DE2-93D3-44F8-BE87-C19EC6771CD3}" dt="2023-09-21T08:01:07.433" v="12654" actId="20577"/>
            <ac:spMkLst>
              <pc:docMk/>
              <pc:sldMasterMk cId="409606273" sldId="2147483648"/>
              <pc:sldLayoutMk cId="3716835328" sldId="2147483657"/>
              <ac:spMk id="16" creationId="{AEE7F6F4-4D2C-45B3-A061-9606B2BD36A7}"/>
            </ac:spMkLst>
          </pc:spChg>
          <pc:spChg chg="mod">
            <ac:chgData name="van Leeuwen  Sara (VPPL)" userId="7a5f1df4-0dd0-4c9e-a72f-a035cf318af6" providerId="ADAL" clId="{AAA37DE2-93D3-44F8-BE87-C19EC6771CD3}" dt="2023-09-21T08:01:07.433" v="12650" actId="20577"/>
            <ac:spMkLst>
              <pc:docMk/>
              <pc:sldMasterMk cId="409606273" sldId="2147483648"/>
              <pc:sldLayoutMk cId="3716835328" sldId="2147483657"/>
              <ac:spMk id="18" creationId="{B2186F78-5D28-4695-8B1C-5A3F1A53AAB3}"/>
            </ac:spMkLst>
          </pc:spChg>
          <pc:spChg chg="mod">
            <ac:chgData name="van Leeuwen  Sara (VPPL)" userId="7a5f1df4-0dd0-4c9e-a72f-a035cf318af6" providerId="ADAL" clId="{AAA37DE2-93D3-44F8-BE87-C19EC6771CD3}" dt="2023-09-21T08:01:07.417" v="12646" actId="20577"/>
            <ac:spMkLst>
              <pc:docMk/>
              <pc:sldMasterMk cId="409606273" sldId="2147483648"/>
              <pc:sldLayoutMk cId="3716835328" sldId="2147483657"/>
              <ac:spMk id="19" creationId="{1FE5475E-83C3-4BE3-BBF1-FAE9A6986B3F}"/>
            </ac:spMkLst>
          </pc:spChg>
          <pc:spChg chg="mod">
            <ac:chgData name="van Leeuwen  Sara (VPPL)" userId="7a5f1df4-0dd0-4c9e-a72f-a035cf318af6" providerId="ADAL" clId="{AAA37DE2-93D3-44F8-BE87-C19EC6771CD3}" dt="2023-09-21T08:01:07.417" v="12642" actId="20577"/>
            <ac:spMkLst>
              <pc:docMk/>
              <pc:sldMasterMk cId="409606273" sldId="2147483648"/>
              <pc:sldLayoutMk cId="3716835328" sldId="2147483657"/>
              <ac:spMk id="20" creationId="{41B77B6E-E7CB-412B-95AC-A9322C6799BB}"/>
            </ac:spMkLst>
          </pc:spChg>
          <pc:spChg chg="mod">
            <ac:chgData name="van Leeuwen  Sara (VPPL)" userId="7a5f1df4-0dd0-4c9e-a72f-a035cf318af6" providerId="ADAL" clId="{AAA37DE2-93D3-44F8-BE87-C19EC6771CD3}" dt="2023-09-21T08:01:07.417" v="12638" actId="20577"/>
            <ac:spMkLst>
              <pc:docMk/>
              <pc:sldMasterMk cId="409606273" sldId="2147483648"/>
              <pc:sldLayoutMk cId="3716835328" sldId="2147483657"/>
              <ac:spMk id="21" creationId="{832E5C1A-13CE-49A6-B590-B6EAA5F9E1AD}"/>
            </ac:spMkLst>
          </pc:spChg>
          <pc:spChg chg="mod">
            <ac:chgData name="van Leeuwen  Sara (VPPL)" userId="7a5f1df4-0dd0-4c9e-a72f-a035cf318af6" providerId="ADAL" clId="{AAA37DE2-93D3-44F8-BE87-C19EC6771CD3}" dt="2023-09-21T08:01:07.417" v="12634" actId="20577"/>
            <ac:spMkLst>
              <pc:docMk/>
              <pc:sldMasterMk cId="409606273" sldId="2147483648"/>
              <pc:sldLayoutMk cId="3716835328" sldId="2147483657"/>
              <ac:spMk id="22" creationId="{63AE00B0-780F-4053-8FE9-B7D321217AFF}"/>
            </ac:spMkLst>
          </pc:spChg>
          <pc:spChg chg="mod">
            <ac:chgData name="van Leeuwen  Sara (VPPL)" userId="7a5f1df4-0dd0-4c9e-a72f-a035cf318af6" providerId="ADAL" clId="{AAA37DE2-93D3-44F8-BE87-C19EC6771CD3}" dt="2023-09-21T08:01:07.417" v="12630" actId="20577"/>
            <ac:spMkLst>
              <pc:docMk/>
              <pc:sldMasterMk cId="409606273" sldId="2147483648"/>
              <pc:sldLayoutMk cId="3716835328" sldId="2147483657"/>
              <ac:spMk id="23" creationId="{2406CEAF-7399-4CCB-A322-03F0BA2532F5}"/>
            </ac:spMkLst>
          </pc:spChg>
          <pc:graphicFrameChg chg="mod">
            <ac:chgData name="van Leeuwen  Sara (VPPL)" userId="7a5f1df4-0dd0-4c9e-a72f-a035cf318af6" providerId="ADAL" clId="{AAA37DE2-93D3-44F8-BE87-C19EC6771CD3}" dt="2023-09-21T08:01:08.235" v="15376"/>
            <ac:graphicFrameMkLst>
              <pc:docMk/>
              <pc:sldMasterMk cId="409606273" sldId="2147483648"/>
              <pc:sldLayoutMk cId="3716835328" sldId="2147483657"/>
              <ac:graphicFrameMk id="7" creationId="{CC007B98-B8E7-5D06-BE36-389E1CC53E37}"/>
            </ac:graphicFrameMkLst>
          </pc:graphicFrameChg>
        </pc:sldLayoutChg>
        <pc:sldLayoutChg chg="addSp delSp modSp mod">
          <pc:chgData name="van Leeuwen  Sara (VPPL)" userId="7a5f1df4-0dd0-4c9e-a72f-a035cf318af6" providerId="ADAL" clId="{AAA37DE2-93D3-44F8-BE87-C19EC6771CD3}" dt="2023-09-21T08:01:08.172" v="15342"/>
          <pc:sldLayoutMkLst>
            <pc:docMk/>
            <pc:sldMasterMk cId="409606273" sldId="2147483648"/>
            <pc:sldLayoutMk cId="943852122" sldId="2147483658"/>
          </pc:sldLayoutMkLst>
          <pc:spChg chg="mod">
            <ac:chgData name="van Leeuwen  Sara (VPPL)" userId="7a5f1df4-0dd0-4c9e-a72f-a035cf318af6" providerId="ADAL" clId="{AAA37DE2-93D3-44F8-BE87-C19EC6771CD3}" dt="2023-09-21T08:01:07.748" v="13831" actId="948"/>
            <ac:spMkLst>
              <pc:docMk/>
              <pc:sldMasterMk cId="409606273" sldId="2147483648"/>
              <pc:sldLayoutMk cId="943852122" sldId="2147483658"/>
              <ac:spMk id="2" creationId="{3346F7F9-CBC8-4641-B12B-7E76FD213E12}"/>
            </ac:spMkLst>
          </pc:spChg>
          <pc:spChg chg="add del mod modVis">
            <ac:chgData name="van Leeuwen  Sara (VPPL)" userId="7a5f1df4-0dd0-4c9e-a72f-a035cf318af6" providerId="ADAL" clId="{AAA37DE2-93D3-44F8-BE87-C19EC6771CD3}" dt="2023-09-21T08:01:08.125" v="15253" actId="478"/>
            <ac:spMkLst>
              <pc:docMk/>
              <pc:sldMasterMk cId="409606273" sldId="2147483648"/>
              <pc:sldLayoutMk cId="943852122" sldId="2147483658"/>
              <ac:spMk id="3" creationId="{5CEA9805-B361-E0F1-E7B8-EC0B25EA89C3}"/>
            </ac:spMkLst>
          </pc:spChg>
          <pc:spChg chg="mod">
            <ac:chgData name="van Leeuwen  Sara (VPPL)" userId="7a5f1df4-0dd0-4c9e-a72f-a035cf318af6" providerId="ADAL" clId="{AAA37DE2-93D3-44F8-BE87-C19EC6771CD3}" dt="2023-09-21T07:58:44.125" v="4850" actId="790"/>
            <ac:spMkLst>
              <pc:docMk/>
              <pc:sldMasterMk cId="409606273" sldId="2147483648"/>
              <pc:sldLayoutMk cId="943852122" sldId="2147483658"/>
              <ac:spMk id="4" creationId="{67DB21BA-81C0-43DB-A42C-5F672DBC37F2}"/>
            </ac:spMkLst>
          </pc:spChg>
          <pc:spChg chg="mod">
            <ac:chgData name="van Leeuwen  Sara (VPPL)" userId="7a5f1df4-0dd0-4c9e-a72f-a035cf318af6" providerId="ADAL" clId="{AAA37DE2-93D3-44F8-BE87-C19EC6771CD3}" dt="2023-09-21T08:01:07.433" v="12669" actId="790"/>
            <ac:spMkLst>
              <pc:docMk/>
              <pc:sldMasterMk cId="409606273" sldId="2147483648"/>
              <pc:sldLayoutMk cId="943852122" sldId="2147483658"/>
              <ac:spMk id="5" creationId="{1BC78786-28C3-4EAB-A3FC-1A4BFA8447EC}"/>
            </ac:spMkLst>
          </pc:spChg>
          <pc:spChg chg="mod">
            <ac:chgData name="van Leeuwen  Sara (VPPL)" userId="7a5f1df4-0dd0-4c9e-a72f-a035cf318af6" providerId="ADAL" clId="{AAA37DE2-93D3-44F8-BE87-C19EC6771CD3}" dt="2023-09-21T07:58:44.125" v="4852" actId="790"/>
            <ac:spMkLst>
              <pc:docMk/>
              <pc:sldMasterMk cId="409606273" sldId="2147483648"/>
              <pc:sldLayoutMk cId="943852122" sldId="2147483658"/>
              <ac:spMk id="6" creationId="{0FC1D5C1-A4AD-42D4-93B7-D3B71140E3A1}"/>
            </ac:spMkLst>
          </pc:spChg>
          <pc:spChg chg="mod">
            <ac:chgData name="van Leeuwen  Sara (VPPL)" userId="7a5f1df4-0dd0-4c9e-a72f-a035cf318af6" providerId="ADAL" clId="{AAA37DE2-93D3-44F8-BE87-C19EC6771CD3}" dt="2023-09-21T07:58:44.125" v="4853" actId="790"/>
            <ac:spMkLst>
              <pc:docMk/>
              <pc:sldMasterMk cId="409606273" sldId="2147483648"/>
              <pc:sldLayoutMk cId="943852122" sldId="2147483658"/>
              <ac:spMk id="11" creationId="{05941150-30DE-48F5-9038-0E82CD18DE28}"/>
            </ac:spMkLst>
          </pc:spChg>
          <pc:graphicFrameChg chg="mod">
            <ac:chgData name="van Leeuwen  Sara (VPPL)" userId="7a5f1df4-0dd0-4c9e-a72f-a035cf318af6" providerId="ADAL" clId="{AAA37DE2-93D3-44F8-BE87-C19EC6771CD3}" dt="2023-09-21T08:01:08.172" v="15342"/>
            <ac:graphicFrameMkLst>
              <pc:docMk/>
              <pc:sldMasterMk cId="409606273" sldId="2147483648"/>
              <pc:sldLayoutMk cId="943852122" sldId="2147483658"/>
              <ac:graphicFrameMk id="8" creationId="{90FE4F96-D083-F22D-0FDA-77047DF69419}"/>
            </ac:graphicFrameMkLst>
          </pc:graphicFrameChg>
        </pc:sldLayoutChg>
        <pc:sldLayoutChg chg="modSp mod">
          <pc:chgData name="van Leeuwen  Sara (VPPL)" userId="7a5f1df4-0dd0-4c9e-a72f-a035cf318af6" providerId="ADAL" clId="{AAA37DE2-93D3-44F8-BE87-C19EC6771CD3}" dt="2023-09-21T08:01:08.172" v="15344"/>
          <pc:sldLayoutMkLst>
            <pc:docMk/>
            <pc:sldMasterMk cId="409606273" sldId="2147483648"/>
            <pc:sldLayoutMk cId="2842048334" sldId="2147483659"/>
          </pc:sldLayoutMkLst>
          <pc:spChg chg="mod">
            <ac:chgData name="van Leeuwen  Sara (VPPL)" userId="7a5f1df4-0dd0-4c9e-a72f-a035cf318af6" providerId="ADAL" clId="{AAA37DE2-93D3-44F8-BE87-C19EC6771CD3}" dt="2023-09-21T07:58:44.141" v="4854" actId="790"/>
            <ac:spMkLst>
              <pc:docMk/>
              <pc:sldMasterMk cId="409606273" sldId="2147483648"/>
              <pc:sldLayoutMk cId="2842048334" sldId="2147483659"/>
              <ac:spMk id="4" creationId="{67DB21BA-81C0-43DB-A42C-5F672DBC37F2}"/>
            </ac:spMkLst>
          </pc:spChg>
          <pc:spChg chg="mod">
            <ac:chgData name="van Leeuwen  Sara (VPPL)" userId="7a5f1df4-0dd0-4c9e-a72f-a035cf318af6" providerId="ADAL" clId="{AAA37DE2-93D3-44F8-BE87-C19EC6771CD3}" dt="2023-09-21T08:01:07.433" v="12673" actId="790"/>
            <ac:spMkLst>
              <pc:docMk/>
              <pc:sldMasterMk cId="409606273" sldId="2147483648"/>
              <pc:sldLayoutMk cId="2842048334" sldId="2147483659"/>
              <ac:spMk id="5" creationId="{1BC78786-28C3-4EAB-A3FC-1A4BFA8447EC}"/>
            </ac:spMkLst>
          </pc:spChg>
          <pc:spChg chg="mod">
            <ac:chgData name="van Leeuwen  Sara (VPPL)" userId="7a5f1df4-0dd0-4c9e-a72f-a035cf318af6" providerId="ADAL" clId="{AAA37DE2-93D3-44F8-BE87-C19EC6771CD3}" dt="2023-09-21T07:58:44.141" v="4856" actId="790"/>
            <ac:spMkLst>
              <pc:docMk/>
              <pc:sldMasterMk cId="409606273" sldId="2147483648"/>
              <pc:sldLayoutMk cId="2842048334" sldId="2147483659"/>
              <ac:spMk id="6" creationId="{0FC1D5C1-A4AD-42D4-93B7-D3B71140E3A1}"/>
            </ac:spMkLst>
          </pc:spChg>
          <pc:spChg chg="mod">
            <ac:chgData name="van Leeuwen  Sara (VPPL)" userId="7a5f1df4-0dd0-4c9e-a72f-a035cf318af6" providerId="ADAL" clId="{AAA37DE2-93D3-44F8-BE87-C19EC6771CD3}" dt="2023-09-21T07:58:44.141" v="4857" actId="790"/>
            <ac:spMkLst>
              <pc:docMk/>
              <pc:sldMasterMk cId="409606273" sldId="2147483648"/>
              <pc:sldLayoutMk cId="2842048334" sldId="2147483659"/>
              <ac:spMk id="11" creationId="{05941150-30DE-48F5-9038-0E82CD18DE28}"/>
            </ac:spMkLst>
          </pc:spChg>
          <pc:graphicFrameChg chg="mod">
            <ac:chgData name="van Leeuwen  Sara (VPPL)" userId="7a5f1df4-0dd0-4c9e-a72f-a035cf318af6" providerId="ADAL" clId="{AAA37DE2-93D3-44F8-BE87-C19EC6771CD3}" dt="2023-09-21T08:01:08.172" v="15344"/>
            <ac:graphicFrameMkLst>
              <pc:docMk/>
              <pc:sldMasterMk cId="409606273" sldId="2147483648"/>
              <pc:sldLayoutMk cId="2842048334" sldId="2147483659"/>
              <ac:graphicFrameMk id="2" creationId="{CEC49A61-509E-32FC-B506-6DE2EAF0DC90}"/>
            </ac:graphicFrameMkLst>
          </pc:graphicFrameChg>
        </pc:sldLayoutChg>
        <pc:sldLayoutChg chg="addSp delSp modSp mod">
          <pc:chgData name="van Leeuwen  Sara (VPPL)" userId="7a5f1df4-0dd0-4c9e-a72f-a035cf318af6" providerId="ADAL" clId="{AAA37DE2-93D3-44F8-BE87-C19EC6771CD3}" dt="2023-09-21T08:01:08.188" v="15348"/>
          <pc:sldLayoutMkLst>
            <pc:docMk/>
            <pc:sldMasterMk cId="409606273" sldId="2147483648"/>
            <pc:sldLayoutMk cId="3996394784" sldId="2147483660"/>
          </pc:sldLayoutMkLst>
          <pc:spChg chg="mod">
            <ac:chgData name="van Leeuwen  Sara (VPPL)" userId="7a5f1df4-0dd0-4c9e-a72f-a035cf318af6" providerId="ADAL" clId="{AAA37DE2-93D3-44F8-BE87-C19EC6771CD3}" dt="2023-09-21T08:01:07.779" v="13903" actId="948"/>
            <ac:spMkLst>
              <pc:docMk/>
              <pc:sldMasterMk cId="409606273" sldId="2147483648"/>
              <pc:sldLayoutMk cId="3996394784" sldId="2147483660"/>
              <ac:spMk id="2" creationId="{3346F7F9-CBC8-4641-B12B-7E76FD213E12}"/>
            </ac:spMkLst>
          </pc:spChg>
          <pc:spChg chg="mod">
            <ac:chgData name="van Leeuwen  Sara (VPPL)" userId="7a5f1df4-0dd0-4c9e-a72f-a035cf318af6" providerId="ADAL" clId="{AAA37DE2-93D3-44F8-BE87-C19EC6771CD3}" dt="2023-09-21T07:58:44.141" v="4859" actId="790"/>
            <ac:spMkLst>
              <pc:docMk/>
              <pc:sldMasterMk cId="409606273" sldId="2147483648"/>
              <pc:sldLayoutMk cId="3996394784" sldId="2147483660"/>
              <ac:spMk id="3" creationId="{87D3E2EF-5F98-49EC-BCEA-B215D49920A3}"/>
            </ac:spMkLst>
          </pc:spChg>
          <pc:spChg chg="mod">
            <ac:chgData name="van Leeuwen  Sara (VPPL)" userId="7a5f1df4-0dd0-4c9e-a72f-a035cf318af6" providerId="ADAL" clId="{AAA37DE2-93D3-44F8-BE87-C19EC6771CD3}" dt="2023-09-21T07:58:44.157" v="4860" actId="790"/>
            <ac:spMkLst>
              <pc:docMk/>
              <pc:sldMasterMk cId="409606273" sldId="2147483648"/>
              <pc:sldLayoutMk cId="3996394784" sldId="2147483660"/>
              <ac:spMk id="4" creationId="{67DB21BA-81C0-43DB-A42C-5F672DBC37F2}"/>
            </ac:spMkLst>
          </pc:spChg>
          <pc:spChg chg="mod">
            <ac:chgData name="van Leeuwen  Sara (VPPL)" userId="7a5f1df4-0dd0-4c9e-a72f-a035cf318af6" providerId="ADAL" clId="{AAA37DE2-93D3-44F8-BE87-C19EC6771CD3}" dt="2023-09-21T08:01:07.433" v="12679" actId="790"/>
            <ac:spMkLst>
              <pc:docMk/>
              <pc:sldMasterMk cId="409606273" sldId="2147483648"/>
              <pc:sldLayoutMk cId="3996394784" sldId="2147483660"/>
              <ac:spMk id="5" creationId="{1BC78786-28C3-4EAB-A3FC-1A4BFA8447EC}"/>
            </ac:spMkLst>
          </pc:spChg>
          <pc:spChg chg="mod">
            <ac:chgData name="van Leeuwen  Sara (VPPL)" userId="7a5f1df4-0dd0-4c9e-a72f-a035cf318af6" providerId="ADAL" clId="{AAA37DE2-93D3-44F8-BE87-C19EC6771CD3}" dt="2023-09-21T07:58:44.157" v="4862" actId="790"/>
            <ac:spMkLst>
              <pc:docMk/>
              <pc:sldMasterMk cId="409606273" sldId="2147483648"/>
              <pc:sldLayoutMk cId="3996394784" sldId="2147483660"/>
              <ac:spMk id="6" creationId="{0FC1D5C1-A4AD-42D4-93B7-D3B71140E3A1}"/>
            </ac:spMkLst>
          </pc:spChg>
          <pc:spChg chg="add del mod modVis">
            <ac:chgData name="van Leeuwen  Sara (VPPL)" userId="7a5f1df4-0dd0-4c9e-a72f-a035cf318af6" providerId="ADAL" clId="{AAA37DE2-93D3-44F8-BE87-C19EC6771CD3}" dt="2023-09-21T08:01:08.125" v="15258" actId="478"/>
            <ac:spMkLst>
              <pc:docMk/>
              <pc:sldMasterMk cId="409606273" sldId="2147483648"/>
              <pc:sldLayoutMk cId="3996394784" sldId="2147483660"/>
              <ac:spMk id="8" creationId="{F130A0A8-2FAC-D8CB-4EBF-2F54A56BB6DC}"/>
            </ac:spMkLst>
          </pc:spChg>
          <pc:spChg chg="mod">
            <ac:chgData name="van Leeuwen  Sara (VPPL)" userId="7a5f1df4-0dd0-4c9e-a72f-a035cf318af6" providerId="ADAL" clId="{AAA37DE2-93D3-44F8-BE87-C19EC6771CD3}" dt="2023-09-21T07:58:44.157" v="4863" actId="790"/>
            <ac:spMkLst>
              <pc:docMk/>
              <pc:sldMasterMk cId="409606273" sldId="2147483648"/>
              <pc:sldLayoutMk cId="3996394784" sldId="2147483660"/>
              <ac:spMk id="11" creationId="{221A3BAE-B19D-4390-B4A5-2C8A2CC87C59}"/>
            </ac:spMkLst>
          </pc:spChg>
          <pc:graphicFrameChg chg="mod">
            <ac:chgData name="van Leeuwen  Sara (VPPL)" userId="7a5f1df4-0dd0-4c9e-a72f-a035cf318af6" providerId="ADAL" clId="{AAA37DE2-93D3-44F8-BE87-C19EC6771CD3}" dt="2023-09-21T08:01:08.188" v="15348"/>
            <ac:graphicFrameMkLst>
              <pc:docMk/>
              <pc:sldMasterMk cId="409606273" sldId="2147483648"/>
              <pc:sldLayoutMk cId="3996394784" sldId="2147483660"/>
              <ac:graphicFrameMk id="9" creationId="{A14F9B4A-5E71-2436-C531-60297CE2AF8D}"/>
            </ac:graphicFrameMkLst>
          </pc:graphicFrameChg>
        </pc:sldLayoutChg>
        <pc:sldLayoutChg chg="addSp delSp modSp mod">
          <pc:chgData name="van Leeuwen  Sara (VPPL)" userId="7a5f1df4-0dd0-4c9e-a72f-a035cf318af6" providerId="ADAL" clId="{AAA37DE2-93D3-44F8-BE87-C19EC6771CD3}" dt="2023-09-21T08:01:08.172" v="15346"/>
          <pc:sldLayoutMkLst>
            <pc:docMk/>
            <pc:sldMasterMk cId="409606273" sldId="2147483648"/>
            <pc:sldLayoutMk cId="1085750778" sldId="2147483661"/>
          </pc:sldLayoutMkLst>
          <pc:spChg chg="mod">
            <ac:chgData name="van Leeuwen  Sara (VPPL)" userId="7a5f1df4-0dd0-4c9e-a72f-a035cf318af6" providerId="ADAL" clId="{AAA37DE2-93D3-44F8-BE87-C19EC6771CD3}" dt="2023-09-21T08:01:07.764" v="13867" actId="948"/>
            <ac:spMkLst>
              <pc:docMk/>
              <pc:sldMasterMk cId="409606273" sldId="2147483648"/>
              <pc:sldLayoutMk cId="1085750778" sldId="2147483661"/>
              <ac:spMk id="2" creationId="{3346F7F9-CBC8-4641-B12B-7E76FD213E12}"/>
            </ac:spMkLst>
          </pc:spChg>
          <pc:spChg chg="mod">
            <ac:chgData name="van Leeuwen  Sara (VPPL)" userId="7a5f1df4-0dd0-4c9e-a72f-a035cf318af6" providerId="ADAL" clId="{AAA37DE2-93D3-44F8-BE87-C19EC6771CD3}" dt="2023-09-21T07:58:44.172" v="4865" actId="790"/>
            <ac:spMkLst>
              <pc:docMk/>
              <pc:sldMasterMk cId="409606273" sldId="2147483648"/>
              <pc:sldLayoutMk cId="1085750778" sldId="2147483661"/>
              <ac:spMk id="3" creationId="{87D3E2EF-5F98-49EC-BCEA-B215D49920A3}"/>
            </ac:spMkLst>
          </pc:spChg>
          <pc:spChg chg="mod">
            <ac:chgData name="van Leeuwen  Sara (VPPL)" userId="7a5f1df4-0dd0-4c9e-a72f-a035cf318af6" providerId="ADAL" clId="{AAA37DE2-93D3-44F8-BE87-C19EC6771CD3}" dt="2023-09-21T07:58:44.172" v="4866" actId="790"/>
            <ac:spMkLst>
              <pc:docMk/>
              <pc:sldMasterMk cId="409606273" sldId="2147483648"/>
              <pc:sldLayoutMk cId="1085750778" sldId="2147483661"/>
              <ac:spMk id="4" creationId="{67DB21BA-81C0-43DB-A42C-5F672DBC37F2}"/>
            </ac:spMkLst>
          </pc:spChg>
          <pc:spChg chg="mod">
            <ac:chgData name="van Leeuwen  Sara (VPPL)" userId="7a5f1df4-0dd0-4c9e-a72f-a035cf318af6" providerId="ADAL" clId="{AAA37DE2-93D3-44F8-BE87-C19EC6771CD3}" dt="2023-09-21T08:01:07.448" v="12685" actId="790"/>
            <ac:spMkLst>
              <pc:docMk/>
              <pc:sldMasterMk cId="409606273" sldId="2147483648"/>
              <pc:sldLayoutMk cId="1085750778" sldId="2147483661"/>
              <ac:spMk id="5" creationId="{1BC78786-28C3-4EAB-A3FC-1A4BFA8447EC}"/>
            </ac:spMkLst>
          </pc:spChg>
          <pc:spChg chg="mod">
            <ac:chgData name="van Leeuwen  Sara (VPPL)" userId="7a5f1df4-0dd0-4c9e-a72f-a035cf318af6" providerId="ADAL" clId="{AAA37DE2-93D3-44F8-BE87-C19EC6771CD3}" dt="2023-09-21T07:58:44.172" v="4868" actId="790"/>
            <ac:spMkLst>
              <pc:docMk/>
              <pc:sldMasterMk cId="409606273" sldId="2147483648"/>
              <pc:sldLayoutMk cId="1085750778" sldId="2147483661"/>
              <ac:spMk id="6" creationId="{0FC1D5C1-A4AD-42D4-93B7-D3B71140E3A1}"/>
            </ac:spMkLst>
          </pc:spChg>
          <pc:spChg chg="add del mod modVis">
            <ac:chgData name="van Leeuwen  Sara (VPPL)" userId="7a5f1df4-0dd0-4c9e-a72f-a035cf318af6" providerId="ADAL" clId="{AAA37DE2-93D3-44F8-BE87-C19EC6771CD3}" dt="2023-09-21T08:01:08.125" v="15256" actId="478"/>
            <ac:spMkLst>
              <pc:docMk/>
              <pc:sldMasterMk cId="409606273" sldId="2147483648"/>
              <pc:sldLayoutMk cId="1085750778" sldId="2147483661"/>
              <ac:spMk id="8" creationId="{2BEFCF02-F194-9CD5-AC93-82645AE2B875}"/>
            </ac:spMkLst>
          </pc:spChg>
          <pc:spChg chg="mod">
            <ac:chgData name="van Leeuwen  Sara (VPPL)" userId="7a5f1df4-0dd0-4c9e-a72f-a035cf318af6" providerId="ADAL" clId="{AAA37DE2-93D3-44F8-BE87-C19EC6771CD3}" dt="2023-09-21T07:58:44.172" v="4870" actId="790"/>
            <ac:spMkLst>
              <pc:docMk/>
              <pc:sldMasterMk cId="409606273" sldId="2147483648"/>
              <pc:sldLayoutMk cId="1085750778" sldId="2147483661"/>
              <ac:spMk id="9" creationId="{1AAB6914-2518-430D-BF4C-14EA51B61410}"/>
            </ac:spMkLst>
          </pc:spChg>
          <pc:spChg chg="mod">
            <ac:chgData name="van Leeuwen  Sara (VPPL)" userId="7a5f1df4-0dd0-4c9e-a72f-a035cf318af6" providerId="ADAL" clId="{AAA37DE2-93D3-44F8-BE87-C19EC6771CD3}" dt="2023-09-21T07:58:44.172" v="4869" actId="790"/>
            <ac:spMkLst>
              <pc:docMk/>
              <pc:sldMasterMk cId="409606273" sldId="2147483648"/>
              <pc:sldLayoutMk cId="1085750778" sldId="2147483661"/>
              <ac:spMk id="11" creationId="{221A3BAE-B19D-4390-B4A5-2C8A2CC87C59}"/>
            </ac:spMkLst>
          </pc:spChg>
          <pc:spChg chg="mod">
            <ac:chgData name="van Leeuwen  Sara (VPPL)" userId="7a5f1df4-0dd0-4c9e-a72f-a035cf318af6" providerId="ADAL" clId="{AAA37DE2-93D3-44F8-BE87-C19EC6771CD3}" dt="2023-09-21T07:58:44.188" v="4871" actId="790"/>
            <ac:spMkLst>
              <pc:docMk/>
              <pc:sldMasterMk cId="409606273" sldId="2147483648"/>
              <pc:sldLayoutMk cId="1085750778" sldId="2147483661"/>
              <ac:spMk id="12" creationId="{5092EEFB-079B-4C38-A665-E52B9837601B}"/>
            </ac:spMkLst>
          </pc:spChg>
          <pc:graphicFrameChg chg="mod">
            <ac:chgData name="van Leeuwen  Sara (VPPL)" userId="7a5f1df4-0dd0-4c9e-a72f-a035cf318af6" providerId="ADAL" clId="{AAA37DE2-93D3-44F8-BE87-C19EC6771CD3}" dt="2023-09-21T08:01:08.172" v="15346"/>
            <ac:graphicFrameMkLst>
              <pc:docMk/>
              <pc:sldMasterMk cId="409606273" sldId="2147483648"/>
              <pc:sldLayoutMk cId="1085750778" sldId="2147483661"/>
              <ac:graphicFrameMk id="10" creationId="{16902D4C-3B7E-C061-F232-B93DFD8CDC0E}"/>
            </ac:graphicFrameMkLst>
          </pc:graphicFrameChg>
        </pc:sldLayoutChg>
        <pc:sldLayoutChg chg="addSp delSp modSp mod">
          <pc:chgData name="van Leeuwen  Sara (VPPL)" userId="7a5f1df4-0dd0-4c9e-a72f-a035cf318af6" providerId="ADAL" clId="{AAA37DE2-93D3-44F8-BE87-C19EC6771CD3}" dt="2023-09-21T08:01:08.188" v="15350"/>
          <pc:sldLayoutMkLst>
            <pc:docMk/>
            <pc:sldMasterMk cId="409606273" sldId="2147483648"/>
            <pc:sldLayoutMk cId="2252988954" sldId="2147483662"/>
          </pc:sldLayoutMkLst>
          <pc:spChg chg="mod">
            <ac:chgData name="van Leeuwen  Sara (VPPL)" userId="7a5f1df4-0dd0-4c9e-a72f-a035cf318af6" providerId="ADAL" clId="{AAA37DE2-93D3-44F8-BE87-C19EC6771CD3}" dt="2023-09-21T08:01:07.795" v="13939" actId="948"/>
            <ac:spMkLst>
              <pc:docMk/>
              <pc:sldMasterMk cId="409606273" sldId="2147483648"/>
              <pc:sldLayoutMk cId="2252988954" sldId="2147483662"/>
              <ac:spMk id="2" creationId="{3346F7F9-CBC8-4641-B12B-7E76FD213E12}"/>
            </ac:spMkLst>
          </pc:spChg>
          <pc:spChg chg="mod">
            <ac:chgData name="van Leeuwen  Sara (VPPL)" userId="7a5f1df4-0dd0-4c9e-a72f-a035cf318af6" providerId="ADAL" clId="{AAA37DE2-93D3-44F8-BE87-C19EC6771CD3}" dt="2023-09-21T07:58:44.188" v="4873" actId="790"/>
            <ac:spMkLst>
              <pc:docMk/>
              <pc:sldMasterMk cId="409606273" sldId="2147483648"/>
              <pc:sldLayoutMk cId="2252988954" sldId="2147483662"/>
              <ac:spMk id="3" creationId="{87D3E2EF-5F98-49EC-BCEA-B215D49920A3}"/>
            </ac:spMkLst>
          </pc:spChg>
          <pc:spChg chg="mod">
            <ac:chgData name="van Leeuwen  Sara (VPPL)" userId="7a5f1df4-0dd0-4c9e-a72f-a035cf318af6" providerId="ADAL" clId="{AAA37DE2-93D3-44F8-BE87-C19EC6771CD3}" dt="2023-09-21T07:58:44.188" v="4874" actId="790"/>
            <ac:spMkLst>
              <pc:docMk/>
              <pc:sldMasterMk cId="409606273" sldId="2147483648"/>
              <pc:sldLayoutMk cId="2252988954" sldId="2147483662"/>
              <ac:spMk id="4" creationId="{67DB21BA-81C0-43DB-A42C-5F672DBC37F2}"/>
            </ac:spMkLst>
          </pc:spChg>
          <pc:spChg chg="mod">
            <ac:chgData name="van Leeuwen  Sara (VPPL)" userId="7a5f1df4-0dd0-4c9e-a72f-a035cf318af6" providerId="ADAL" clId="{AAA37DE2-93D3-44F8-BE87-C19EC6771CD3}" dt="2023-09-21T08:01:07.448" v="12693" actId="790"/>
            <ac:spMkLst>
              <pc:docMk/>
              <pc:sldMasterMk cId="409606273" sldId="2147483648"/>
              <pc:sldLayoutMk cId="2252988954" sldId="2147483662"/>
              <ac:spMk id="5" creationId="{1BC78786-28C3-4EAB-A3FC-1A4BFA8447EC}"/>
            </ac:spMkLst>
          </pc:spChg>
          <pc:spChg chg="mod">
            <ac:chgData name="van Leeuwen  Sara (VPPL)" userId="7a5f1df4-0dd0-4c9e-a72f-a035cf318af6" providerId="ADAL" clId="{AAA37DE2-93D3-44F8-BE87-C19EC6771CD3}" dt="2023-09-21T07:58:44.204" v="4876" actId="790"/>
            <ac:spMkLst>
              <pc:docMk/>
              <pc:sldMasterMk cId="409606273" sldId="2147483648"/>
              <pc:sldLayoutMk cId="2252988954" sldId="2147483662"/>
              <ac:spMk id="6" creationId="{0FC1D5C1-A4AD-42D4-93B7-D3B71140E3A1}"/>
            </ac:spMkLst>
          </pc:spChg>
          <pc:spChg chg="add del mod modVis">
            <ac:chgData name="van Leeuwen  Sara (VPPL)" userId="7a5f1df4-0dd0-4c9e-a72f-a035cf318af6" providerId="ADAL" clId="{AAA37DE2-93D3-44F8-BE87-C19EC6771CD3}" dt="2023-09-21T08:01:08.125" v="15260" actId="478"/>
            <ac:spMkLst>
              <pc:docMk/>
              <pc:sldMasterMk cId="409606273" sldId="2147483648"/>
              <pc:sldLayoutMk cId="2252988954" sldId="2147483662"/>
              <ac:spMk id="8" creationId="{C1D0DF75-2D91-8D8C-871B-6E1CBF5B8321}"/>
            </ac:spMkLst>
          </pc:spChg>
          <pc:spChg chg="mod">
            <ac:chgData name="van Leeuwen  Sara (VPPL)" userId="7a5f1df4-0dd0-4c9e-a72f-a035cf318af6" providerId="ADAL" clId="{AAA37DE2-93D3-44F8-BE87-C19EC6771CD3}" dt="2023-09-21T07:58:44.204" v="4877" actId="790"/>
            <ac:spMkLst>
              <pc:docMk/>
              <pc:sldMasterMk cId="409606273" sldId="2147483648"/>
              <pc:sldLayoutMk cId="2252988954" sldId="2147483662"/>
              <ac:spMk id="11" creationId="{221A3BAE-B19D-4390-B4A5-2C8A2CC87C59}"/>
            </ac:spMkLst>
          </pc:spChg>
          <pc:spChg chg="mod">
            <ac:chgData name="van Leeuwen  Sara (VPPL)" userId="7a5f1df4-0dd0-4c9e-a72f-a035cf318af6" providerId="ADAL" clId="{AAA37DE2-93D3-44F8-BE87-C19EC6771CD3}" dt="2023-09-21T07:58:44.204" v="4878" actId="790"/>
            <ac:spMkLst>
              <pc:docMk/>
              <pc:sldMasterMk cId="409606273" sldId="2147483648"/>
              <pc:sldLayoutMk cId="2252988954" sldId="2147483662"/>
              <ac:spMk id="13" creationId="{36793346-BF6B-42A8-ADE0-3AA3DC3B239A}"/>
            </ac:spMkLst>
          </pc:spChg>
          <pc:spChg chg="mod">
            <ac:chgData name="van Leeuwen  Sara (VPPL)" userId="7a5f1df4-0dd0-4c9e-a72f-a035cf318af6" providerId="ADAL" clId="{AAA37DE2-93D3-44F8-BE87-C19EC6771CD3}" dt="2023-09-21T07:58:44.204" v="4879" actId="790"/>
            <ac:spMkLst>
              <pc:docMk/>
              <pc:sldMasterMk cId="409606273" sldId="2147483648"/>
              <pc:sldLayoutMk cId="2252988954" sldId="2147483662"/>
              <ac:spMk id="14" creationId="{FE637F68-618E-43EB-B240-4BFA26852FC5}"/>
            </ac:spMkLst>
          </pc:spChg>
          <pc:graphicFrameChg chg="mod">
            <ac:chgData name="van Leeuwen  Sara (VPPL)" userId="7a5f1df4-0dd0-4c9e-a72f-a035cf318af6" providerId="ADAL" clId="{AAA37DE2-93D3-44F8-BE87-C19EC6771CD3}" dt="2023-09-21T08:01:08.188" v="15350"/>
            <ac:graphicFrameMkLst>
              <pc:docMk/>
              <pc:sldMasterMk cId="409606273" sldId="2147483648"/>
              <pc:sldLayoutMk cId="2252988954" sldId="2147483662"/>
              <ac:graphicFrameMk id="9" creationId="{FF89BBAB-A540-86A1-8FF5-EDD8BE453BEF}"/>
            </ac:graphicFrameMkLst>
          </pc:graphicFrameChg>
        </pc:sldLayoutChg>
        <pc:sldLayoutChg chg="addSp delSp modSp mod">
          <pc:chgData name="van Leeuwen  Sara (VPPL)" userId="7a5f1df4-0dd0-4c9e-a72f-a035cf318af6" providerId="ADAL" clId="{AAA37DE2-93D3-44F8-BE87-C19EC6771CD3}" dt="2023-09-21T08:01:08.188" v="15352"/>
          <pc:sldLayoutMkLst>
            <pc:docMk/>
            <pc:sldMasterMk cId="409606273" sldId="2147483648"/>
            <pc:sldLayoutMk cId="2928661315" sldId="2147483663"/>
          </pc:sldLayoutMkLst>
          <pc:spChg chg="mod">
            <ac:chgData name="van Leeuwen  Sara (VPPL)" userId="7a5f1df4-0dd0-4c9e-a72f-a035cf318af6" providerId="ADAL" clId="{AAA37DE2-93D3-44F8-BE87-C19EC6771CD3}" dt="2023-09-21T08:01:07.795" v="13975" actId="948"/>
            <ac:spMkLst>
              <pc:docMk/>
              <pc:sldMasterMk cId="409606273" sldId="2147483648"/>
              <pc:sldLayoutMk cId="2928661315" sldId="2147483663"/>
              <ac:spMk id="2" creationId="{3346F7F9-CBC8-4641-B12B-7E76FD213E12}"/>
            </ac:spMkLst>
          </pc:spChg>
          <pc:spChg chg="mod">
            <ac:chgData name="van Leeuwen  Sara (VPPL)" userId="7a5f1df4-0dd0-4c9e-a72f-a035cf318af6" providerId="ADAL" clId="{AAA37DE2-93D3-44F8-BE87-C19EC6771CD3}" dt="2023-09-21T07:58:44.219" v="4881" actId="790"/>
            <ac:spMkLst>
              <pc:docMk/>
              <pc:sldMasterMk cId="409606273" sldId="2147483648"/>
              <pc:sldLayoutMk cId="2928661315" sldId="2147483663"/>
              <ac:spMk id="3" creationId="{87D3E2EF-5F98-49EC-BCEA-B215D49920A3}"/>
            </ac:spMkLst>
          </pc:spChg>
          <pc:spChg chg="mod">
            <ac:chgData name="van Leeuwen  Sara (VPPL)" userId="7a5f1df4-0dd0-4c9e-a72f-a035cf318af6" providerId="ADAL" clId="{AAA37DE2-93D3-44F8-BE87-C19EC6771CD3}" dt="2023-09-21T07:58:44.219" v="4882" actId="790"/>
            <ac:spMkLst>
              <pc:docMk/>
              <pc:sldMasterMk cId="409606273" sldId="2147483648"/>
              <pc:sldLayoutMk cId="2928661315" sldId="2147483663"/>
              <ac:spMk id="4" creationId="{67DB21BA-81C0-43DB-A42C-5F672DBC37F2}"/>
            </ac:spMkLst>
          </pc:spChg>
          <pc:spChg chg="mod">
            <ac:chgData name="van Leeuwen  Sara (VPPL)" userId="7a5f1df4-0dd0-4c9e-a72f-a035cf318af6" providerId="ADAL" clId="{AAA37DE2-93D3-44F8-BE87-C19EC6771CD3}" dt="2023-09-21T08:01:07.448" v="12701" actId="790"/>
            <ac:spMkLst>
              <pc:docMk/>
              <pc:sldMasterMk cId="409606273" sldId="2147483648"/>
              <pc:sldLayoutMk cId="2928661315" sldId="2147483663"/>
              <ac:spMk id="5" creationId="{1BC78786-28C3-4EAB-A3FC-1A4BFA8447EC}"/>
            </ac:spMkLst>
          </pc:spChg>
          <pc:spChg chg="mod">
            <ac:chgData name="van Leeuwen  Sara (VPPL)" userId="7a5f1df4-0dd0-4c9e-a72f-a035cf318af6" providerId="ADAL" clId="{AAA37DE2-93D3-44F8-BE87-C19EC6771CD3}" dt="2023-09-21T07:58:44.219" v="4884" actId="790"/>
            <ac:spMkLst>
              <pc:docMk/>
              <pc:sldMasterMk cId="409606273" sldId="2147483648"/>
              <pc:sldLayoutMk cId="2928661315" sldId="2147483663"/>
              <ac:spMk id="6" creationId="{0FC1D5C1-A4AD-42D4-93B7-D3B71140E3A1}"/>
            </ac:spMkLst>
          </pc:spChg>
          <pc:spChg chg="add del mod modVis">
            <ac:chgData name="van Leeuwen  Sara (VPPL)" userId="7a5f1df4-0dd0-4c9e-a72f-a035cf318af6" providerId="ADAL" clId="{AAA37DE2-93D3-44F8-BE87-C19EC6771CD3}" dt="2023-09-21T08:01:08.125" v="15262" actId="478"/>
            <ac:spMkLst>
              <pc:docMk/>
              <pc:sldMasterMk cId="409606273" sldId="2147483648"/>
              <pc:sldLayoutMk cId="2928661315" sldId="2147483663"/>
              <ac:spMk id="8" creationId="{2330EC06-C6DC-F5CD-5236-136778B40557}"/>
            </ac:spMkLst>
          </pc:spChg>
          <pc:spChg chg="mod">
            <ac:chgData name="van Leeuwen  Sara (VPPL)" userId="7a5f1df4-0dd0-4c9e-a72f-a035cf318af6" providerId="ADAL" clId="{AAA37DE2-93D3-44F8-BE87-C19EC6771CD3}" dt="2023-09-21T07:58:44.219" v="4885" actId="790"/>
            <ac:spMkLst>
              <pc:docMk/>
              <pc:sldMasterMk cId="409606273" sldId="2147483648"/>
              <pc:sldLayoutMk cId="2928661315" sldId="2147483663"/>
              <ac:spMk id="9" creationId="{A1D947E6-CC00-458E-BDE1-B0877E30333C}"/>
            </ac:spMkLst>
          </pc:spChg>
          <pc:graphicFrameChg chg="mod">
            <ac:chgData name="van Leeuwen  Sara (VPPL)" userId="7a5f1df4-0dd0-4c9e-a72f-a035cf318af6" providerId="ADAL" clId="{AAA37DE2-93D3-44F8-BE87-C19EC6771CD3}" dt="2023-09-21T08:01:08.188" v="15352"/>
            <ac:graphicFrameMkLst>
              <pc:docMk/>
              <pc:sldMasterMk cId="409606273" sldId="2147483648"/>
              <pc:sldLayoutMk cId="2928661315" sldId="2147483663"/>
              <ac:graphicFrameMk id="10" creationId="{43F0FDB3-92ED-A659-5296-69686EC3DDE3}"/>
            </ac:graphicFrameMkLst>
          </pc:graphicFrameChg>
        </pc:sldLayoutChg>
        <pc:sldLayoutChg chg="modSp mod">
          <pc:chgData name="van Leeuwen  Sara (VPPL)" userId="7a5f1df4-0dd0-4c9e-a72f-a035cf318af6" providerId="ADAL" clId="{AAA37DE2-93D3-44F8-BE87-C19EC6771CD3}" dt="2023-09-21T08:01:08.203" v="15360"/>
          <pc:sldLayoutMkLst>
            <pc:docMk/>
            <pc:sldMasterMk cId="409606273" sldId="2147483648"/>
            <pc:sldLayoutMk cId="1752670339" sldId="2147483664"/>
          </pc:sldLayoutMkLst>
          <pc:spChg chg="mod">
            <ac:chgData name="van Leeuwen  Sara (VPPL)" userId="7a5f1df4-0dd0-4c9e-a72f-a035cf318af6" providerId="ADAL" clId="{AAA37DE2-93D3-44F8-BE87-C19EC6771CD3}" dt="2023-09-21T07:58:44.219" v="4886" actId="790"/>
            <ac:spMkLst>
              <pc:docMk/>
              <pc:sldMasterMk cId="409606273" sldId="2147483648"/>
              <pc:sldLayoutMk cId="1752670339" sldId="2147483664"/>
              <ac:spMk id="20" creationId="{394B20FF-3667-40DF-92A1-C6CF3BBCA26D}"/>
            </ac:spMkLst>
          </pc:spChg>
          <pc:spChg chg="mod">
            <ac:chgData name="van Leeuwen  Sara (VPPL)" userId="7a5f1df4-0dd0-4c9e-a72f-a035cf318af6" providerId="ADAL" clId="{AAA37DE2-93D3-44F8-BE87-C19EC6771CD3}" dt="2023-09-21T07:58:44.219" v="4887" actId="790"/>
            <ac:spMkLst>
              <pc:docMk/>
              <pc:sldMasterMk cId="409606273" sldId="2147483648"/>
              <pc:sldLayoutMk cId="1752670339" sldId="2147483664"/>
              <ac:spMk id="21" creationId="{794484F1-3B7F-46CE-AD0B-2310A557A990}"/>
            </ac:spMkLst>
          </pc:spChg>
          <pc:graphicFrameChg chg="mod">
            <ac:chgData name="van Leeuwen  Sara (VPPL)" userId="7a5f1df4-0dd0-4c9e-a72f-a035cf318af6" providerId="ADAL" clId="{AAA37DE2-93D3-44F8-BE87-C19EC6771CD3}" dt="2023-09-21T08:01:08.203" v="15360"/>
            <ac:graphicFrameMkLst>
              <pc:docMk/>
              <pc:sldMasterMk cId="409606273" sldId="2147483648"/>
              <pc:sldLayoutMk cId="1752670339" sldId="2147483664"/>
              <ac:graphicFrameMk id="2" creationId="{A9527B25-39A7-5858-EADB-9AAB59EBF5E8}"/>
            </ac:graphicFrameMkLst>
          </pc:graphicFrameChg>
        </pc:sldLayoutChg>
        <pc:sldLayoutChg chg="addSp delSp modSp mod">
          <pc:chgData name="van Leeuwen  Sara (VPPL)" userId="7a5f1df4-0dd0-4c9e-a72f-a035cf318af6" providerId="ADAL" clId="{AAA37DE2-93D3-44F8-BE87-C19EC6771CD3}" dt="2023-09-21T08:01:08.188" v="15356"/>
          <pc:sldLayoutMkLst>
            <pc:docMk/>
            <pc:sldMasterMk cId="409606273" sldId="2147483648"/>
            <pc:sldLayoutMk cId="691335200" sldId="2147483665"/>
          </pc:sldLayoutMkLst>
          <pc:spChg chg="mod">
            <ac:chgData name="van Leeuwen  Sara (VPPL)" userId="7a5f1df4-0dd0-4c9e-a72f-a035cf318af6" providerId="ADAL" clId="{AAA37DE2-93D3-44F8-BE87-C19EC6771CD3}" dt="2023-09-21T08:01:07.815" v="14011" actId="948"/>
            <ac:spMkLst>
              <pc:docMk/>
              <pc:sldMasterMk cId="409606273" sldId="2147483648"/>
              <pc:sldLayoutMk cId="691335200" sldId="2147483665"/>
              <ac:spMk id="2" creationId="{00000000-0000-0000-0000-000000000000}"/>
            </ac:spMkLst>
          </pc:spChg>
          <pc:spChg chg="mod">
            <ac:chgData name="van Leeuwen  Sara (VPPL)" userId="7a5f1df4-0dd0-4c9e-a72f-a035cf318af6" providerId="ADAL" clId="{AAA37DE2-93D3-44F8-BE87-C19EC6771CD3}" dt="2023-09-21T07:58:44.240" v="4889" actId="790"/>
            <ac:spMkLst>
              <pc:docMk/>
              <pc:sldMasterMk cId="409606273" sldId="2147483648"/>
              <pc:sldLayoutMk cId="691335200" sldId="2147483665"/>
              <ac:spMk id="3" creationId="{00000000-0000-0000-0000-000000000000}"/>
            </ac:spMkLst>
          </pc:spChg>
          <pc:spChg chg="mod">
            <ac:chgData name="van Leeuwen  Sara (VPPL)" userId="7a5f1df4-0dd0-4c9e-a72f-a035cf318af6" providerId="ADAL" clId="{AAA37DE2-93D3-44F8-BE87-C19EC6771CD3}" dt="2023-09-21T08:01:07.464" v="12708" actId="790"/>
            <ac:spMkLst>
              <pc:docMk/>
              <pc:sldMasterMk cId="409606273" sldId="2147483648"/>
              <pc:sldLayoutMk cId="691335200" sldId="2147483665"/>
              <ac:spMk id="4" creationId="{00000000-0000-0000-0000-000000000000}"/>
            </ac:spMkLst>
          </pc:spChg>
          <pc:spChg chg="mod">
            <ac:chgData name="van Leeuwen  Sara (VPPL)" userId="7a5f1df4-0dd0-4c9e-a72f-a035cf318af6" providerId="ADAL" clId="{AAA37DE2-93D3-44F8-BE87-C19EC6771CD3}" dt="2023-09-21T07:58:44.240" v="4891" actId="790"/>
            <ac:spMkLst>
              <pc:docMk/>
              <pc:sldMasterMk cId="409606273" sldId="2147483648"/>
              <pc:sldLayoutMk cId="691335200" sldId="2147483665"/>
              <ac:spMk id="5" creationId="{00000000-0000-0000-0000-000000000000}"/>
            </ac:spMkLst>
          </pc:spChg>
          <pc:spChg chg="add del mod modVis">
            <ac:chgData name="van Leeuwen  Sara (VPPL)" userId="7a5f1df4-0dd0-4c9e-a72f-a035cf318af6" providerId="ADAL" clId="{AAA37DE2-93D3-44F8-BE87-C19EC6771CD3}" dt="2023-09-21T08:01:08.125" v="15264" actId="478"/>
            <ac:spMkLst>
              <pc:docMk/>
              <pc:sldMasterMk cId="409606273" sldId="2147483648"/>
              <pc:sldLayoutMk cId="691335200" sldId="2147483665"/>
              <ac:spMk id="6" creationId="{E0F3B87D-4108-B3B0-6F7B-089151E44113}"/>
            </ac:spMkLst>
          </pc:spChg>
          <pc:graphicFrameChg chg="mod">
            <ac:chgData name="van Leeuwen  Sara (VPPL)" userId="7a5f1df4-0dd0-4c9e-a72f-a035cf318af6" providerId="ADAL" clId="{AAA37DE2-93D3-44F8-BE87-C19EC6771CD3}" dt="2023-09-21T08:01:08.188" v="15356"/>
            <ac:graphicFrameMkLst>
              <pc:docMk/>
              <pc:sldMasterMk cId="409606273" sldId="2147483648"/>
              <pc:sldLayoutMk cId="691335200" sldId="2147483665"/>
              <ac:graphicFrameMk id="7" creationId="{25D4132F-BCC7-1A1C-1204-1C854A1D631B}"/>
            </ac:graphicFrameMkLst>
          </pc:graphicFrameChg>
        </pc:sldLayoutChg>
        <pc:sldLayoutChg chg="addSp delSp modSp mod">
          <pc:chgData name="van Leeuwen  Sara (VPPL)" userId="7a5f1df4-0dd0-4c9e-a72f-a035cf318af6" providerId="ADAL" clId="{AAA37DE2-93D3-44F8-BE87-C19EC6771CD3}" dt="2023-09-21T08:01:08.156" v="15340"/>
          <pc:sldLayoutMkLst>
            <pc:docMk/>
            <pc:sldMasterMk cId="409606273" sldId="2147483648"/>
            <pc:sldLayoutMk cId="39068553" sldId="2147483666"/>
          </pc:sldLayoutMkLst>
          <pc:spChg chg="mod">
            <ac:chgData name="van Leeuwen  Sara (VPPL)" userId="7a5f1df4-0dd0-4c9e-a72f-a035cf318af6" providerId="ADAL" clId="{AAA37DE2-93D3-44F8-BE87-C19EC6771CD3}" dt="2023-09-21T08:01:07.574" v="13111" actId="948"/>
            <ac:spMkLst>
              <pc:docMk/>
              <pc:sldMasterMk cId="409606273" sldId="2147483648"/>
              <pc:sldLayoutMk cId="39068553" sldId="2147483666"/>
              <ac:spMk id="2" creationId="{00000000-0000-0000-0000-000000000000}"/>
            </ac:spMkLst>
          </pc:spChg>
          <pc:spChg chg="mod">
            <ac:chgData name="van Leeuwen  Sara (VPPL)" userId="7a5f1df4-0dd0-4c9e-a72f-a035cf318af6" providerId="ADAL" clId="{AAA37DE2-93D3-44F8-BE87-C19EC6771CD3}" dt="2023-09-21T07:58:44.251" v="4893" actId="790"/>
            <ac:spMkLst>
              <pc:docMk/>
              <pc:sldMasterMk cId="409606273" sldId="2147483648"/>
              <pc:sldLayoutMk cId="39068553" sldId="2147483666"/>
              <ac:spMk id="3" creationId="{00000000-0000-0000-0000-000000000000}"/>
            </ac:spMkLst>
          </pc:spChg>
          <pc:spChg chg="mod">
            <ac:chgData name="van Leeuwen  Sara (VPPL)" userId="7a5f1df4-0dd0-4c9e-a72f-a035cf318af6" providerId="ADAL" clId="{AAA37DE2-93D3-44F8-BE87-C19EC6771CD3}" dt="2023-09-21T07:58:44.251" v="4894" actId="790"/>
            <ac:spMkLst>
              <pc:docMk/>
              <pc:sldMasterMk cId="409606273" sldId="2147483648"/>
              <pc:sldLayoutMk cId="39068553" sldId="2147483666"/>
              <ac:spMk id="4" creationId="{00000000-0000-0000-0000-000000000000}"/>
            </ac:spMkLst>
          </pc:spChg>
          <pc:spChg chg="mod">
            <ac:chgData name="van Leeuwen  Sara (VPPL)" userId="7a5f1df4-0dd0-4c9e-a72f-a035cf318af6" providerId="ADAL" clId="{AAA37DE2-93D3-44F8-BE87-C19EC6771CD3}" dt="2023-09-21T08:01:07.464" v="12713" actId="790"/>
            <ac:spMkLst>
              <pc:docMk/>
              <pc:sldMasterMk cId="409606273" sldId="2147483648"/>
              <pc:sldLayoutMk cId="39068553" sldId="2147483666"/>
              <ac:spMk id="5" creationId="{00000000-0000-0000-0000-000000000000}"/>
            </ac:spMkLst>
          </pc:spChg>
          <pc:spChg chg="mod">
            <ac:chgData name="van Leeuwen  Sara (VPPL)" userId="7a5f1df4-0dd0-4c9e-a72f-a035cf318af6" providerId="ADAL" clId="{AAA37DE2-93D3-44F8-BE87-C19EC6771CD3}" dt="2023-09-21T07:58:44.251" v="4896" actId="790"/>
            <ac:spMkLst>
              <pc:docMk/>
              <pc:sldMasterMk cId="409606273" sldId="2147483648"/>
              <pc:sldLayoutMk cId="39068553" sldId="2147483666"/>
              <ac:spMk id="6" creationId="{00000000-0000-0000-0000-000000000000}"/>
            </ac:spMkLst>
          </pc:spChg>
          <pc:spChg chg="add del mod modVis">
            <ac:chgData name="van Leeuwen  Sara (VPPL)" userId="7a5f1df4-0dd0-4c9e-a72f-a035cf318af6" providerId="ADAL" clId="{AAA37DE2-93D3-44F8-BE87-C19EC6771CD3}" dt="2023-09-21T08:01:08.115" v="15213" actId="478"/>
            <ac:spMkLst>
              <pc:docMk/>
              <pc:sldMasterMk cId="409606273" sldId="2147483648"/>
              <pc:sldLayoutMk cId="39068553" sldId="2147483666"/>
              <ac:spMk id="7" creationId="{206866A0-0A53-81D1-DFA7-AC6A9F2AD697}"/>
            </ac:spMkLst>
          </pc:spChg>
          <pc:graphicFrameChg chg="mod">
            <ac:chgData name="van Leeuwen  Sara (VPPL)" userId="7a5f1df4-0dd0-4c9e-a72f-a035cf318af6" providerId="ADAL" clId="{AAA37DE2-93D3-44F8-BE87-C19EC6771CD3}" dt="2023-09-21T08:01:08.156" v="15340"/>
            <ac:graphicFrameMkLst>
              <pc:docMk/>
              <pc:sldMasterMk cId="409606273" sldId="2147483648"/>
              <pc:sldLayoutMk cId="39068553" sldId="2147483666"/>
              <ac:graphicFrameMk id="8" creationId="{C4856E5D-F9B6-EF77-BCBB-C20C08EA7F74}"/>
            </ac:graphicFrameMkLst>
          </pc:graphicFrameChg>
        </pc:sldLayoutChg>
        <pc:sldLayoutChg chg="addSp delSp modSp mod">
          <pc:chgData name="van Leeuwen  Sara (VPPL)" userId="7a5f1df4-0dd0-4c9e-a72f-a035cf318af6" providerId="ADAL" clId="{AAA37DE2-93D3-44F8-BE87-C19EC6771CD3}" dt="2023-09-21T08:01:08.282" v="15400"/>
          <pc:sldLayoutMkLst>
            <pc:docMk/>
            <pc:sldMasterMk cId="409606273" sldId="2147483648"/>
            <pc:sldLayoutMk cId="2533257179" sldId="2147483668"/>
          </pc:sldLayoutMkLst>
          <pc:spChg chg="mod">
            <ac:chgData name="van Leeuwen  Sara (VPPL)" userId="7a5f1df4-0dd0-4c9e-a72f-a035cf318af6" providerId="ADAL" clId="{AAA37DE2-93D3-44F8-BE87-C19EC6771CD3}" dt="2023-09-21T08:01:07.968" v="14551" actId="948"/>
            <ac:spMkLst>
              <pc:docMk/>
              <pc:sldMasterMk cId="409606273" sldId="2147483648"/>
              <pc:sldLayoutMk cId="2533257179" sldId="2147483668"/>
              <ac:spMk id="2" creationId="{3346F7F9-CBC8-4641-B12B-7E76FD213E12}"/>
            </ac:spMkLst>
          </pc:spChg>
          <pc:spChg chg="mod">
            <ac:chgData name="van Leeuwen  Sara (VPPL)" userId="7a5f1df4-0dd0-4c9e-a72f-a035cf318af6" providerId="ADAL" clId="{AAA37DE2-93D3-44F8-BE87-C19EC6771CD3}" dt="2023-09-21T07:58:44.340" v="4925" actId="790"/>
            <ac:spMkLst>
              <pc:docMk/>
              <pc:sldMasterMk cId="409606273" sldId="2147483648"/>
              <pc:sldLayoutMk cId="2533257179" sldId="2147483668"/>
              <ac:spMk id="3" creationId="{87D3E2EF-5F98-49EC-BCEA-B215D49920A3}"/>
            </ac:spMkLst>
          </pc:spChg>
          <pc:spChg chg="mod">
            <ac:chgData name="van Leeuwen  Sara (VPPL)" userId="7a5f1df4-0dd0-4c9e-a72f-a035cf318af6" providerId="ADAL" clId="{AAA37DE2-93D3-44F8-BE87-C19EC6771CD3}" dt="2023-09-21T07:58:44.340" v="4926" actId="790"/>
            <ac:spMkLst>
              <pc:docMk/>
              <pc:sldMasterMk cId="409606273" sldId="2147483648"/>
              <pc:sldLayoutMk cId="2533257179" sldId="2147483668"/>
              <ac:spMk id="4" creationId="{67DB21BA-81C0-43DB-A42C-5F672DBC37F2}"/>
            </ac:spMkLst>
          </pc:spChg>
          <pc:spChg chg="mod">
            <ac:chgData name="van Leeuwen  Sara (VPPL)" userId="7a5f1df4-0dd0-4c9e-a72f-a035cf318af6" providerId="ADAL" clId="{AAA37DE2-93D3-44F8-BE87-C19EC6771CD3}" dt="2023-09-21T08:01:07.479" v="12745" actId="790"/>
            <ac:spMkLst>
              <pc:docMk/>
              <pc:sldMasterMk cId="409606273" sldId="2147483648"/>
              <pc:sldLayoutMk cId="2533257179" sldId="2147483668"/>
              <ac:spMk id="5" creationId="{1BC78786-28C3-4EAB-A3FC-1A4BFA8447EC}"/>
            </ac:spMkLst>
          </pc:spChg>
          <pc:spChg chg="mod">
            <ac:chgData name="van Leeuwen  Sara (VPPL)" userId="7a5f1df4-0dd0-4c9e-a72f-a035cf318af6" providerId="ADAL" clId="{AAA37DE2-93D3-44F8-BE87-C19EC6771CD3}" dt="2023-09-21T07:58:44.340" v="4928" actId="790"/>
            <ac:spMkLst>
              <pc:docMk/>
              <pc:sldMasterMk cId="409606273" sldId="2147483648"/>
              <pc:sldLayoutMk cId="2533257179" sldId="2147483668"/>
              <ac:spMk id="6" creationId="{0FC1D5C1-A4AD-42D4-93B7-D3B71140E3A1}"/>
            </ac:spMkLst>
          </pc:spChg>
          <pc:spChg chg="add del mod modVis">
            <ac:chgData name="van Leeuwen  Sara (VPPL)" userId="7a5f1df4-0dd0-4c9e-a72f-a035cf318af6" providerId="ADAL" clId="{AAA37DE2-93D3-44F8-BE87-C19EC6771CD3}" dt="2023-09-21T08:01:08.141" v="15298" actId="478"/>
            <ac:spMkLst>
              <pc:docMk/>
              <pc:sldMasterMk cId="409606273" sldId="2147483648"/>
              <pc:sldLayoutMk cId="2533257179" sldId="2147483668"/>
              <ac:spMk id="8" creationId="{A62FB79D-9150-38AE-5980-97180AC68C91}"/>
            </ac:spMkLst>
          </pc:spChg>
          <pc:spChg chg="mod">
            <ac:chgData name="van Leeuwen  Sara (VPPL)" userId="7a5f1df4-0dd0-4c9e-a72f-a035cf318af6" providerId="ADAL" clId="{AAA37DE2-93D3-44F8-BE87-C19EC6771CD3}" dt="2023-09-21T07:58:44.346" v="4929" actId="790"/>
            <ac:spMkLst>
              <pc:docMk/>
              <pc:sldMasterMk cId="409606273" sldId="2147483648"/>
              <pc:sldLayoutMk cId="2533257179" sldId="2147483668"/>
              <ac:spMk id="11" creationId="{2F6D94FA-21C6-4AE0-AA4F-3A077810ED93}"/>
            </ac:spMkLst>
          </pc:spChg>
          <pc:graphicFrameChg chg="mod">
            <ac:chgData name="van Leeuwen  Sara (VPPL)" userId="7a5f1df4-0dd0-4c9e-a72f-a035cf318af6" providerId="ADAL" clId="{AAA37DE2-93D3-44F8-BE87-C19EC6771CD3}" dt="2023-09-21T08:01:08.282" v="15400"/>
            <ac:graphicFrameMkLst>
              <pc:docMk/>
              <pc:sldMasterMk cId="409606273" sldId="2147483648"/>
              <pc:sldLayoutMk cId="2533257179" sldId="2147483668"/>
              <ac:graphicFrameMk id="9" creationId="{00219EBA-1C80-A0E9-B24B-37885A5A8D20}"/>
            </ac:graphicFrameMkLst>
          </pc:graphicFrameChg>
        </pc:sldLayoutChg>
        <pc:sldLayoutChg chg="addSp delSp modSp mod">
          <pc:chgData name="van Leeuwen  Sara (VPPL)" userId="7a5f1df4-0dd0-4c9e-a72f-a035cf318af6" providerId="ADAL" clId="{AAA37DE2-93D3-44F8-BE87-C19EC6771CD3}" dt="2023-09-21T08:01:08.188" v="15354"/>
          <pc:sldLayoutMkLst>
            <pc:docMk/>
            <pc:sldMasterMk cId="409606273" sldId="2147483648"/>
            <pc:sldLayoutMk cId="251652625" sldId="2147483669"/>
          </pc:sldLayoutMkLst>
          <pc:spChg chg="mod">
            <ac:chgData name="van Leeuwen  Sara (VPPL)" userId="7a5f1df4-0dd0-4c9e-a72f-a035cf318af6" providerId="ADAL" clId="{AAA37DE2-93D3-44F8-BE87-C19EC6771CD3}" dt="2023-09-21T08:01:07.842" v="14155" actId="948"/>
            <ac:spMkLst>
              <pc:docMk/>
              <pc:sldMasterMk cId="409606273" sldId="2147483648"/>
              <pc:sldLayoutMk cId="251652625" sldId="2147483669"/>
              <ac:spMk id="2" creationId="{3346F7F9-CBC8-4641-B12B-7E76FD213E12}"/>
            </ac:spMkLst>
          </pc:spChg>
          <pc:spChg chg="add del mod modVis">
            <ac:chgData name="van Leeuwen  Sara (VPPL)" userId="7a5f1df4-0dd0-4c9e-a72f-a035cf318af6" providerId="ADAL" clId="{AAA37DE2-93D3-44F8-BE87-C19EC6771CD3}" dt="2023-09-21T08:01:08.125" v="15274" actId="478"/>
            <ac:spMkLst>
              <pc:docMk/>
              <pc:sldMasterMk cId="409606273" sldId="2147483648"/>
              <pc:sldLayoutMk cId="251652625" sldId="2147483669"/>
              <ac:spMk id="3" creationId="{FCB7B049-9FF7-0DCC-B62F-F338D240CF4C}"/>
            </ac:spMkLst>
          </pc:spChg>
          <pc:spChg chg="mod">
            <ac:chgData name="van Leeuwen  Sara (VPPL)" userId="7a5f1df4-0dd0-4c9e-a72f-a035cf318af6" providerId="ADAL" clId="{AAA37DE2-93D3-44F8-BE87-C19EC6771CD3}" dt="2023-09-21T07:58:44.346" v="4931" actId="790"/>
            <ac:spMkLst>
              <pc:docMk/>
              <pc:sldMasterMk cId="409606273" sldId="2147483648"/>
              <pc:sldLayoutMk cId="251652625" sldId="2147483669"/>
              <ac:spMk id="4" creationId="{67DB21BA-81C0-43DB-A42C-5F672DBC37F2}"/>
            </ac:spMkLst>
          </pc:spChg>
          <pc:spChg chg="mod">
            <ac:chgData name="van Leeuwen  Sara (VPPL)" userId="7a5f1df4-0dd0-4c9e-a72f-a035cf318af6" providerId="ADAL" clId="{AAA37DE2-93D3-44F8-BE87-C19EC6771CD3}" dt="2023-09-21T08:01:07.479" v="12750" actId="790"/>
            <ac:spMkLst>
              <pc:docMk/>
              <pc:sldMasterMk cId="409606273" sldId="2147483648"/>
              <pc:sldLayoutMk cId="251652625" sldId="2147483669"/>
              <ac:spMk id="5" creationId="{1BC78786-28C3-4EAB-A3FC-1A4BFA8447EC}"/>
            </ac:spMkLst>
          </pc:spChg>
          <pc:spChg chg="mod">
            <ac:chgData name="van Leeuwen  Sara (VPPL)" userId="7a5f1df4-0dd0-4c9e-a72f-a035cf318af6" providerId="ADAL" clId="{AAA37DE2-93D3-44F8-BE87-C19EC6771CD3}" dt="2023-09-21T07:58:44.346" v="4933" actId="790"/>
            <ac:spMkLst>
              <pc:docMk/>
              <pc:sldMasterMk cId="409606273" sldId="2147483648"/>
              <pc:sldLayoutMk cId="251652625" sldId="2147483669"/>
              <ac:spMk id="6" creationId="{0FC1D5C1-A4AD-42D4-93B7-D3B71140E3A1}"/>
            </ac:spMkLst>
          </pc:spChg>
          <pc:spChg chg="mod">
            <ac:chgData name="van Leeuwen  Sara (VPPL)" userId="7a5f1df4-0dd0-4c9e-a72f-a035cf318af6" providerId="ADAL" clId="{AAA37DE2-93D3-44F8-BE87-C19EC6771CD3}" dt="2023-09-21T08:01:07.495" v="12791" actId="20577"/>
            <ac:spMkLst>
              <pc:docMk/>
              <pc:sldMasterMk cId="409606273" sldId="2147483648"/>
              <pc:sldLayoutMk cId="251652625" sldId="2147483669"/>
              <ac:spMk id="13" creationId="{18BB0752-F87C-44D9-A9A5-97AF1DEDA1AE}"/>
            </ac:spMkLst>
          </pc:spChg>
          <pc:spChg chg="mod">
            <ac:chgData name="van Leeuwen  Sara (VPPL)" userId="7a5f1df4-0dd0-4c9e-a72f-a035cf318af6" providerId="ADAL" clId="{AAA37DE2-93D3-44F8-BE87-C19EC6771CD3}" dt="2023-09-21T08:01:07.495" v="12787" actId="20577"/>
            <ac:spMkLst>
              <pc:docMk/>
              <pc:sldMasterMk cId="409606273" sldId="2147483648"/>
              <pc:sldLayoutMk cId="251652625" sldId="2147483669"/>
              <ac:spMk id="14" creationId="{ED44DE23-7081-4AC9-BF06-502BEC71C004}"/>
            </ac:spMkLst>
          </pc:spChg>
          <pc:spChg chg="mod">
            <ac:chgData name="van Leeuwen  Sara (VPPL)" userId="7a5f1df4-0dd0-4c9e-a72f-a035cf318af6" providerId="ADAL" clId="{AAA37DE2-93D3-44F8-BE87-C19EC6771CD3}" dt="2023-09-21T08:01:07.479" v="12783" actId="20577"/>
            <ac:spMkLst>
              <pc:docMk/>
              <pc:sldMasterMk cId="409606273" sldId="2147483648"/>
              <pc:sldLayoutMk cId="251652625" sldId="2147483669"/>
              <ac:spMk id="15" creationId="{18C24FD2-AEE2-43CA-8EB3-8E646C2E5E46}"/>
            </ac:spMkLst>
          </pc:spChg>
          <pc:spChg chg="mod">
            <ac:chgData name="van Leeuwen  Sara (VPPL)" userId="7a5f1df4-0dd0-4c9e-a72f-a035cf318af6" providerId="ADAL" clId="{AAA37DE2-93D3-44F8-BE87-C19EC6771CD3}" dt="2023-09-21T08:01:07.479" v="12779" actId="20577"/>
            <ac:spMkLst>
              <pc:docMk/>
              <pc:sldMasterMk cId="409606273" sldId="2147483648"/>
              <pc:sldLayoutMk cId="251652625" sldId="2147483669"/>
              <ac:spMk id="16" creationId="{AEE7F6F4-4D2C-45B3-A061-9606B2BD36A7}"/>
            </ac:spMkLst>
          </pc:spChg>
          <pc:spChg chg="mod">
            <ac:chgData name="van Leeuwen  Sara (VPPL)" userId="7a5f1df4-0dd0-4c9e-a72f-a035cf318af6" providerId="ADAL" clId="{AAA37DE2-93D3-44F8-BE87-C19EC6771CD3}" dt="2023-09-21T08:01:07.479" v="12775" actId="20577"/>
            <ac:spMkLst>
              <pc:docMk/>
              <pc:sldMasterMk cId="409606273" sldId="2147483648"/>
              <pc:sldLayoutMk cId="251652625" sldId="2147483669"/>
              <ac:spMk id="18" creationId="{B2186F78-5D28-4695-8B1C-5A3F1A53AAB3}"/>
            </ac:spMkLst>
          </pc:spChg>
          <pc:spChg chg="mod">
            <ac:chgData name="van Leeuwen  Sara (VPPL)" userId="7a5f1df4-0dd0-4c9e-a72f-a035cf318af6" providerId="ADAL" clId="{AAA37DE2-93D3-44F8-BE87-C19EC6771CD3}" dt="2023-09-21T08:01:07.479" v="12771" actId="20577"/>
            <ac:spMkLst>
              <pc:docMk/>
              <pc:sldMasterMk cId="409606273" sldId="2147483648"/>
              <pc:sldLayoutMk cId="251652625" sldId="2147483669"/>
              <ac:spMk id="19" creationId="{1FE5475E-83C3-4BE3-BBF1-FAE9A6986B3F}"/>
            </ac:spMkLst>
          </pc:spChg>
          <pc:spChg chg="mod">
            <ac:chgData name="van Leeuwen  Sara (VPPL)" userId="7a5f1df4-0dd0-4c9e-a72f-a035cf318af6" providerId="ADAL" clId="{AAA37DE2-93D3-44F8-BE87-C19EC6771CD3}" dt="2023-09-21T08:01:07.479" v="12767" actId="20577"/>
            <ac:spMkLst>
              <pc:docMk/>
              <pc:sldMasterMk cId="409606273" sldId="2147483648"/>
              <pc:sldLayoutMk cId="251652625" sldId="2147483669"/>
              <ac:spMk id="20" creationId="{41B77B6E-E7CB-412B-95AC-A9322C6799BB}"/>
            </ac:spMkLst>
          </pc:spChg>
          <pc:spChg chg="mod">
            <ac:chgData name="van Leeuwen  Sara (VPPL)" userId="7a5f1df4-0dd0-4c9e-a72f-a035cf318af6" providerId="ADAL" clId="{AAA37DE2-93D3-44F8-BE87-C19EC6771CD3}" dt="2023-09-21T08:01:07.479" v="12763" actId="20577"/>
            <ac:spMkLst>
              <pc:docMk/>
              <pc:sldMasterMk cId="409606273" sldId="2147483648"/>
              <pc:sldLayoutMk cId="251652625" sldId="2147483669"/>
              <ac:spMk id="21" creationId="{832E5C1A-13CE-49A6-B590-B6EAA5F9E1AD}"/>
            </ac:spMkLst>
          </pc:spChg>
          <pc:spChg chg="mod">
            <ac:chgData name="van Leeuwen  Sara (VPPL)" userId="7a5f1df4-0dd0-4c9e-a72f-a035cf318af6" providerId="ADAL" clId="{AAA37DE2-93D3-44F8-BE87-C19EC6771CD3}" dt="2023-09-21T08:01:07.479" v="12759" actId="20577"/>
            <ac:spMkLst>
              <pc:docMk/>
              <pc:sldMasterMk cId="409606273" sldId="2147483648"/>
              <pc:sldLayoutMk cId="251652625" sldId="2147483669"/>
              <ac:spMk id="22" creationId="{63AE00B0-780F-4053-8FE9-B7D321217AFF}"/>
            </ac:spMkLst>
          </pc:spChg>
          <pc:spChg chg="mod">
            <ac:chgData name="van Leeuwen  Sara (VPPL)" userId="7a5f1df4-0dd0-4c9e-a72f-a035cf318af6" providerId="ADAL" clId="{AAA37DE2-93D3-44F8-BE87-C19EC6771CD3}" dt="2023-09-21T08:01:07.479" v="12755" actId="20577"/>
            <ac:spMkLst>
              <pc:docMk/>
              <pc:sldMasterMk cId="409606273" sldId="2147483648"/>
              <pc:sldLayoutMk cId="251652625" sldId="2147483669"/>
              <ac:spMk id="23" creationId="{2406CEAF-7399-4CCB-A322-03F0BA2532F5}"/>
            </ac:spMkLst>
          </pc:spChg>
          <pc:graphicFrameChg chg="mod">
            <ac:chgData name="van Leeuwen  Sara (VPPL)" userId="7a5f1df4-0dd0-4c9e-a72f-a035cf318af6" providerId="ADAL" clId="{AAA37DE2-93D3-44F8-BE87-C19EC6771CD3}" dt="2023-09-21T08:01:08.188" v="15354"/>
            <ac:graphicFrameMkLst>
              <pc:docMk/>
              <pc:sldMasterMk cId="409606273" sldId="2147483648"/>
              <pc:sldLayoutMk cId="251652625" sldId="2147483669"/>
              <ac:graphicFrameMk id="7" creationId="{515C5B71-4EA8-CE98-62D3-A96FDB8A9640}"/>
            </ac:graphicFrameMkLst>
          </pc:graphicFrameChg>
        </pc:sldLayoutChg>
        <pc:sldLayoutChg chg="addSp delSp modSp mod">
          <pc:chgData name="van Leeuwen  Sara (VPPL)" userId="7a5f1df4-0dd0-4c9e-a72f-a035cf318af6" providerId="ADAL" clId="{AAA37DE2-93D3-44F8-BE87-C19EC6771CD3}" dt="2023-09-21T08:01:08.235" v="15378"/>
          <pc:sldLayoutMkLst>
            <pc:docMk/>
            <pc:sldMasterMk cId="409606273" sldId="2147483648"/>
            <pc:sldLayoutMk cId="870631199" sldId="2147483670"/>
          </pc:sldLayoutMkLst>
          <pc:spChg chg="mod">
            <ac:chgData name="van Leeuwen  Sara (VPPL)" userId="7a5f1df4-0dd0-4c9e-a72f-a035cf318af6" providerId="ADAL" clId="{AAA37DE2-93D3-44F8-BE87-C19EC6771CD3}" dt="2023-09-21T08:01:07.858" v="14191" actId="948"/>
            <ac:spMkLst>
              <pc:docMk/>
              <pc:sldMasterMk cId="409606273" sldId="2147483648"/>
              <pc:sldLayoutMk cId="870631199" sldId="2147483670"/>
              <ac:spMk id="2" creationId="{3346F7F9-CBC8-4641-B12B-7E76FD213E12}"/>
            </ac:spMkLst>
          </pc:spChg>
          <pc:spChg chg="add del mod modVis">
            <ac:chgData name="van Leeuwen  Sara (VPPL)" userId="7a5f1df4-0dd0-4c9e-a72f-a035cf318af6" providerId="ADAL" clId="{AAA37DE2-93D3-44F8-BE87-C19EC6771CD3}" dt="2023-09-21T08:01:08.125" v="15276" actId="478"/>
            <ac:spMkLst>
              <pc:docMk/>
              <pc:sldMasterMk cId="409606273" sldId="2147483648"/>
              <pc:sldLayoutMk cId="870631199" sldId="2147483670"/>
              <ac:spMk id="3" creationId="{D57F1349-9537-F371-9AB7-CD5DBFED5BE2}"/>
            </ac:spMkLst>
          </pc:spChg>
          <pc:spChg chg="mod">
            <ac:chgData name="van Leeuwen  Sara (VPPL)" userId="7a5f1df4-0dd0-4c9e-a72f-a035cf318af6" providerId="ADAL" clId="{AAA37DE2-93D3-44F8-BE87-C19EC6771CD3}" dt="2023-09-21T07:58:44.394" v="4975" actId="790"/>
            <ac:spMkLst>
              <pc:docMk/>
              <pc:sldMasterMk cId="409606273" sldId="2147483648"/>
              <pc:sldLayoutMk cId="870631199" sldId="2147483670"/>
              <ac:spMk id="4" creationId="{67DB21BA-81C0-43DB-A42C-5F672DBC37F2}"/>
            </ac:spMkLst>
          </pc:spChg>
          <pc:spChg chg="mod">
            <ac:chgData name="van Leeuwen  Sara (VPPL)" userId="7a5f1df4-0dd0-4c9e-a72f-a035cf318af6" providerId="ADAL" clId="{AAA37DE2-93D3-44F8-BE87-C19EC6771CD3}" dt="2023-09-21T08:01:07.495" v="12794" actId="790"/>
            <ac:spMkLst>
              <pc:docMk/>
              <pc:sldMasterMk cId="409606273" sldId="2147483648"/>
              <pc:sldLayoutMk cId="870631199" sldId="2147483670"/>
              <ac:spMk id="5" creationId="{1BC78786-28C3-4EAB-A3FC-1A4BFA8447EC}"/>
            </ac:spMkLst>
          </pc:spChg>
          <pc:spChg chg="mod">
            <ac:chgData name="van Leeuwen  Sara (VPPL)" userId="7a5f1df4-0dd0-4c9e-a72f-a035cf318af6" providerId="ADAL" clId="{AAA37DE2-93D3-44F8-BE87-C19EC6771CD3}" dt="2023-09-21T07:58:44.394" v="4977" actId="790"/>
            <ac:spMkLst>
              <pc:docMk/>
              <pc:sldMasterMk cId="409606273" sldId="2147483648"/>
              <pc:sldLayoutMk cId="870631199" sldId="2147483670"/>
              <ac:spMk id="6" creationId="{0FC1D5C1-A4AD-42D4-93B7-D3B71140E3A1}"/>
            </ac:spMkLst>
          </pc:spChg>
          <pc:spChg chg="mod">
            <ac:chgData name="van Leeuwen  Sara (VPPL)" userId="7a5f1df4-0dd0-4c9e-a72f-a035cf318af6" providerId="ADAL" clId="{AAA37DE2-93D3-44F8-BE87-C19EC6771CD3}" dt="2023-09-21T07:58:44.394" v="4978" actId="790"/>
            <ac:spMkLst>
              <pc:docMk/>
              <pc:sldMasterMk cId="409606273" sldId="2147483648"/>
              <pc:sldLayoutMk cId="870631199" sldId="2147483670"/>
              <ac:spMk id="11" creationId="{05941150-30DE-48F5-9038-0E82CD18DE28}"/>
            </ac:spMkLst>
          </pc:spChg>
          <pc:graphicFrameChg chg="mod">
            <ac:chgData name="van Leeuwen  Sara (VPPL)" userId="7a5f1df4-0dd0-4c9e-a72f-a035cf318af6" providerId="ADAL" clId="{AAA37DE2-93D3-44F8-BE87-C19EC6771CD3}" dt="2023-09-21T08:01:08.235" v="15378"/>
            <ac:graphicFrameMkLst>
              <pc:docMk/>
              <pc:sldMasterMk cId="409606273" sldId="2147483648"/>
              <pc:sldLayoutMk cId="870631199" sldId="2147483670"/>
              <ac:graphicFrameMk id="8" creationId="{4DC04BC0-B0BC-CB5C-89E8-82CAF84F6354}"/>
            </ac:graphicFrameMkLst>
          </pc:graphicFrameChg>
        </pc:sldLayoutChg>
        <pc:sldLayoutChg chg="modSp mod">
          <pc:chgData name="van Leeuwen  Sara (VPPL)" userId="7a5f1df4-0dd0-4c9e-a72f-a035cf318af6" providerId="ADAL" clId="{AAA37DE2-93D3-44F8-BE87-C19EC6771CD3}" dt="2023-09-21T08:01:08.235" v="15380"/>
          <pc:sldLayoutMkLst>
            <pc:docMk/>
            <pc:sldMasterMk cId="409606273" sldId="2147483648"/>
            <pc:sldLayoutMk cId="2996574597" sldId="2147483671"/>
          </pc:sldLayoutMkLst>
          <pc:spChg chg="mod">
            <ac:chgData name="van Leeuwen  Sara (VPPL)" userId="7a5f1df4-0dd0-4c9e-a72f-a035cf318af6" providerId="ADAL" clId="{AAA37DE2-93D3-44F8-BE87-C19EC6771CD3}" dt="2023-09-21T07:58:44.394" v="4979" actId="790"/>
            <ac:spMkLst>
              <pc:docMk/>
              <pc:sldMasterMk cId="409606273" sldId="2147483648"/>
              <pc:sldLayoutMk cId="2996574597" sldId="2147483671"/>
              <ac:spMk id="4" creationId="{67DB21BA-81C0-43DB-A42C-5F672DBC37F2}"/>
            </ac:spMkLst>
          </pc:spChg>
          <pc:spChg chg="mod">
            <ac:chgData name="van Leeuwen  Sara (VPPL)" userId="7a5f1df4-0dd0-4c9e-a72f-a035cf318af6" providerId="ADAL" clId="{AAA37DE2-93D3-44F8-BE87-C19EC6771CD3}" dt="2023-09-21T08:01:07.495" v="12798" actId="790"/>
            <ac:spMkLst>
              <pc:docMk/>
              <pc:sldMasterMk cId="409606273" sldId="2147483648"/>
              <pc:sldLayoutMk cId="2996574597" sldId="2147483671"/>
              <ac:spMk id="5" creationId="{1BC78786-28C3-4EAB-A3FC-1A4BFA8447EC}"/>
            </ac:spMkLst>
          </pc:spChg>
          <pc:spChg chg="mod">
            <ac:chgData name="van Leeuwen  Sara (VPPL)" userId="7a5f1df4-0dd0-4c9e-a72f-a035cf318af6" providerId="ADAL" clId="{AAA37DE2-93D3-44F8-BE87-C19EC6771CD3}" dt="2023-09-21T07:58:44.394" v="4981" actId="790"/>
            <ac:spMkLst>
              <pc:docMk/>
              <pc:sldMasterMk cId="409606273" sldId="2147483648"/>
              <pc:sldLayoutMk cId="2996574597" sldId="2147483671"/>
              <ac:spMk id="6" creationId="{0FC1D5C1-A4AD-42D4-93B7-D3B71140E3A1}"/>
            </ac:spMkLst>
          </pc:spChg>
          <pc:spChg chg="mod">
            <ac:chgData name="van Leeuwen  Sara (VPPL)" userId="7a5f1df4-0dd0-4c9e-a72f-a035cf318af6" providerId="ADAL" clId="{AAA37DE2-93D3-44F8-BE87-C19EC6771CD3}" dt="2023-09-21T07:58:44.410" v="4982" actId="790"/>
            <ac:spMkLst>
              <pc:docMk/>
              <pc:sldMasterMk cId="409606273" sldId="2147483648"/>
              <pc:sldLayoutMk cId="2996574597" sldId="2147483671"/>
              <ac:spMk id="11" creationId="{05941150-30DE-48F5-9038-0E82CD18DE28}"/>
            </ac:spMkLst>
          </pc:spChg>
          <pc:graphicFrameChg chg="mod">
            <ac:chgData name="van Leeuwen  Sara (VPPL)" userId="7a5f1df4-0dd0-4c9e-a72f-a035cf318af6" providerId="ADAL" clId="{AAA37DE2-93D3-44F8-BE87-C19EC6771CD3}" dt="2023-09-21T08:01:08.235" v="15380"/>
            <ac:graphicFrameMkLst>
              <pc:docMk/>
              <pc:sldMasterMk cId="409606273" sldId="2147483648"/>
              <pc:sldLayoutMk cId="2996574597" sldId="2147483671"/>
              <ac:graphicFrameMk id="2" creationId="{A153FE21-E72D-06E4-7A05-286D3BCEADDB}"/>
            </ac:graphicFrameMkLst>
          </pc:graphicFrameChg>
        </pc:sldLayoutChg>
        <pc:sldLayoutChg chg="addSp delSp modSp mod">
          <pc:chgData name="van Leeuwen  Sara (VPPL)" userId="7a5f1df4-0dd0-4c9e-a72f-a035cf318af6" providerId="ADAL" clId="{AAA37DE2-93D3-44F8-BE87-C19EC6771CD3}" dt="2023-09-21T08:01:08.251" v="15382"/>
          <pc:sldLayoutMkLst>
            <pc:docMk/>
            <pc:sldMasterMk cId="409606273" sldId="2147483648"/>
            <pc:sldLayoutMk cId="3030196718" sldId="2147483672"/>
          </pc:sldLayoutMkLst>
          <pc:spChg chg="mod">
            <ac:chgData name="van Leeuwen  Sara (VPPL)" userId="7a5f1df4-0dd0-4c9e-a72f-a035cf318af6" providerId="ADAL" clId="{AAA37DE2-93D3-44F8-BE87-C19EC6771CD3}" dt="2023-09-21T08:01:07.874" v="14227" actId="948"/>
            <ac:spMkLst>
              <pc:docMk/>
              <pc:sldMasterMk cId="409606273" sldId="2147483648"/>
              <pc:sldLayoutMk cId="3030196718" sldId="2147483672"/>
              <ac:spMk id="2" creationId="{3346F7F9-CBC8-4641-B12B-7E76FD213E12}"/>
            </ac:spMkLst>
          </pc:spChg>
          <pc:spChg chg="mod">
            <ac:chgData name="van Leeuwen  Sara (VPPL)" userId="7a5f1df4-0dd0-4c9e-a72f-a035cf318af6" providerId="ADAL" clId="{AAA37DE2-93D3-44F8-BE87-C19EC6771CD3}" dt="2023-09-21T07:58:44.410" v="4984" actId="790"/>
            <ac:spMkLst>
              <pc:docMk/>
              <pc:sldMasterMk cId="409606273" sldId="2147483648"/>
              <pc:sldLayoutMk cId="3030196718" sldId="2147483672"/>
              <ac:spMk id="3" creationId="{87D3E2EF-5F98-49EC-BCEA-B215D49920A3}"/>
            </ac:spMkLst>
          </pc:spChg>
          <pc:spChg chg="mod">
            <ac:chgData name="van Leeuwen  Sara (VPPL)" userId="7a5f1df4-0dd0-4c9e-a72f-a035cf318af6" providerId="ADAL" clId="{AAA37DE2-93D3-44F8-BE87-C19EC6771CD3}" dt="2023-09-21T07:58:44.410" v="4985" actId="790"/>
            <ac:spMkLst>
              <pc:docMk/>
              <pc:sldMasterMk cId="409606273" sldId="2147483648"/>
              <pc:sldLayoutMk cId="3030196718" sldId="2147483672"/>
              <ac:spMk id="4" creationId="{67DB21BA-81C0-43DB-A42C-5F672DBC37F2}"/>
            </ac:spMkLst>
          </pc:spChg>
          <pc:spChg chg="mod">
            <ac:chgData name="van Leeuwen  Sara (VPPL)" userId="7a5f1df4-0dd0-4c9e-a72f-a035cf318af6" providerId="ADAL" clId="{AAA37DE2-93D3-44F8-BE87-C19EC6771CD3}" dt="2023-09-21T08:01:07.495" v="12804" actId="790"/>
            <ac:spMkLst>
              <pc:docMk/>
              <pc:sldMasterMk cId="409606273" sldId="2147483648"/>
              <pc:sldLayoutMk cId="3030196718" sldId="2147483672"/>
              <ac:spMk id="5" creationId="{1BC78786-28C3-4EAB-A3FC-1A4BFA8447EC}"/>
            </ac:spMkLst>
          </pc:spChg>
          <pc:spChg chg="mod">
            <ac:chgData name="van Leeuwen  Sara (VPPL)" userId="7a5f1df4-0dd0-4c9e-a72f-a035cf318af6" providerId="ADAL" clId="{AAA37DE2-93D3-44F8-BE87-C19EC6771CD3}" dt="2023-09-21T07:58:44.426" v="4987" actId="790"/>
            <ac:spMkLst>
              <pc:docMk/>
              <pc:sldMasterMk cId="409606273" sldId="2147483648"/>
              <pc:sldLayoutMk cId="3030196718" sldId="2147483672"/>
              <ac:spMk id="6" creationId="{0FC1D5C1-A4AD-42D4-93B7-D3B71140E3A1}"/>
            </ac:spMkLst>
          </pc:spChg>
          <pc:spChg chg="add del mod modVis">
            <ac:chgData name="van Leeuwen  Sara (VPPL)" userId="7a5f1df4-0dd0-4c9e-a72f-a035cf318af6" providerId="ADAL" clId="{AAA37DE2-93D3-44F8-BE87-C19EC6771CD3}" dt="2023-09-21T08:01:08.125" v="15279" actId="478"/>
            <ac:spMkLst>
              <pc:docMk/>
              <pc:sldMasterMk cId="409606273" sldId="2147483648"/>
              <pc:sldLayoutMk cId="3030196718" sldId="2147483672"/>
              <ac:spMk id="8" creationId="{0F5288C0-47E8-BC7B-4B58-DB9811172666}"/>
            </ac:spMkLst>
          </pc:spChg>
          <pc:spChg chg="mod">
            <ac:chgData name="van Leeuwen  Sara (VPPL)" userId="7a5f1df4-0dd0-4c9e-a72f-a035cf318af6" providerId="ADAL" clId="{AAA37DE2-93D3-44F8-BE87-C19EC6771CD3}" dt="2023-09-21T07:58:44.426" v="4988" actId="790"/>
            <ac:spMkLst>
              <pc:docMk/>
              <pc:sldMasterMk cId="409606273" sldId="2147483648"/>
              <pc:sldLayoutMk cId="3030196718" sldId="2147483672"/>
              <ac:spMk id="11" creationId="{221A3BAE-B19D-4390-B4A5-2C8A2CC87C59}"/>
            </ac:spMkLst>
          </pc:spChg>
          <pc:graphicFrameChg chg="mod">
            <ac:chgData name="van Leeuwen  Sara (VPPL)" userId="7a5f1df4-0dd0-4c9e-a72f-a035cf318af6" providerId="ADAL" clId="{AAA37DE2-93D3-44F8-BE87-C19EC6771CD3}" dt="2023-09-21T08:01:08.251" v="15382"/>
            <ac:graphicFrameMkLst>
              <pc:docMk/>
              <pc:sldMasterMk cId="409606273" sldId="2147483648"/>
              <pc:sldLayoutMk cId="3030196718" sldId="2147483672"/>
              <ac:graphicFrameMk id="9" creationId="{F34FDD1A-9E9C-43F8-49EE-611996F4D8DC}"/>
            </ac:graphicFrameMkLst>
          </pc:graphicFrameChg>
        </pc:sldLayoutChg>
        <pc:sldLayoutChg chg="addSp delSp modSp mod">
          <pc:chgData name="van Leeuwen  Sara (VPPL)" userId="7a5f1df4-0dd0-4c9e-a72f-a035cf318af6" providerId="ADAL" clId="{AAA37DE2-93D3-44F8-BE87-C19EC6771CD3}" dt="2023-09-21T08:01:08.251" v="15384"/>
          <pc:sldLayoutMkLst>
            <pc:docMk/>
            <pc:sldMasterMk cId="409606273" sldId="2147483648"/>
            <pc:sldLayoutMk cId="3016386643" sldId="2147483673"/>
          </pc:sldLayoutMkLst>
          <pc:spChg chg="mod">
            <ac:chgData name="van Leeuwen  Sara (VPPL)" userId="7a5f1df4-0dd0-4c9e-a72f-a035cf318af6" providerId="ADAL" clId="{AAA37DE2-93D3-44F8-BE87-C19EC6771CD3}" dt="2023-09-21T08:01:07.890" v="14263" actId="948"/>
            <ac:spMkLst>
              <pc:docMk/>
              <pc:sldMasterMk cId="409606273" sldId="2147483648"/>
              <pc:sldLayoutMk cId="3016386643" sldId="2147483673"/>
              <ac:spMk id="2" creationId="{3346F7F9-CBC8-4641-B12B-7E76FD213E12}"/>
            </ac:spMkLst>
          </pc:spChg>
          <pc:spChg chg="mod">
            <ac:chgData name="van Leeuwen  Sara (VPPL)" userId="7a5f1df4-0dd0-4c9e-a72f-a035cf318af6" providerId="ADAL" clId="{AAA37DE2-93D3-44F8-BE87-C19EC6771CD3}" dt="2023-09-21T07:58:44.426" v="4990" actId="790"/>
            <ac:spMkLst>
              <pc:docMk/>
              <pc:sldMasterMk cId="409606273" sldId="2147483648"/>
              <pc:sldLayoutMk cId="3016386643" sldId="2147483673"/>
              <ac:spMk id="3" creationId="{87D3E2EF-5F98-49EC-BCEA-B215D49920A3}"/>
            </ac:spMkLst>
          </pc:spChg>
          <pc:spChg chg="mod">
            <ac:chgData name="van Leeuwen  Sara (VPPL)" userId="7a5f1df4-0dd0-4c9e-a72f-a035cf318af6" providerId="ADAL" clId="{AAA37DE2-93D3-44F8-BE87-C19EC6771CD3}" dt="2023-09-21T07:58:44.440" v="4991" actId="790"/>
            <ac:spMkLst>
              <pc:docMk/>
              <pc:sldMasterMk cId="409606273" sldId="2147483648"/>
              <pc:sldLayoutMk cId="3016386643" sldId="2147483673"/>
              <ac:spMk id="4" creationId="{67DB21BA-81C0-43DB-A42C-5F672DBC37F2}"/>
            </ac:spMkLst>
          </pc:spChg>
          <pc:spChg chg="mod">
            <ac:chgData name="van Leeuwen  Sara (VPPL)" userId="7a5f1df4-0dd0-4c9e-a72f-a035cf318af6" providerId="ADAL" clId="{AAA37DE2-93D3-44F8-BE87-C19EC6771CD3}" dt="2023-09-21T08:01:07.495" v="12810" actId="790"/>
            <ac:spMkLst>
              <pc:docMk/>
              <pc:sldMasterMk cId="409606273" sldId="2147483648"/>
              <pc:sldLayoutMk cId="3016386643" sldId="2147483673"/>
              <ac:spMk id="5" creationId="{1BC78786-28C3-4EAB-A3FC-1A4BFA8447EC}"/>
            </ac:spMkLst>
          </pc:spChg>
          <pc:spChg chg="mod">
            <ac:chgData name="van Leeuwen  Sara (VPPL)" userId="7a5f1df4-0dd0-4c9e-a72f-a035cf318af6" providerId="ADAL" clId="{AAA37DE2-93D3-44F8-BE87-C19EC6771CD3}" dt="2023-09-21T07:58:44.442" v="4993" actId="790"/>
            <ac:spMkLst>
              <pc:docMk/>
              <pc:sldMasterMk cId="409606273" sldId="2147483648"/>
              <pc:sldLayoutMk cId="3016386643" sldId="2147483673"/>
              <ac:spMk id="6" creationId="{0FC1D5C1-A4AD-42D4-93B7-D3B71140E3A1}"/>
            </ac:spMkLst>
          </pc:spChg>
          <pc:spChg chg="add del mod modVis">
            <ac:chgData name="van Leeuwen  Sara (VPPL)" userId="7a5f1df4-0dd0-4c9e-a72f-a035cf318af6" providerId="ADAL" clId="{AAA37DE2-93D3-44F8-BE87-C19EC6771CD3}" dt="2023-09-21T08:01:08.125" v="15281" actId="478"/>
            <ac:spMkLst>
              <pc:docMk/>
              <pc:sldMasterMk cId="409606273" sldId="2147483648"/>
              <pc:sldLayoutMk cId="3016386643" sldId="2147483673"/>
              <ac:spMk id="8" creationId="{234E62DF-ADE3-8E03-9FDD-A761979B9CA0}"/>
            </ac:spMkLst>
          </pc:spChg>
          <pc:spChg chg="mod">
            <ac:chgData name="van Leeuwen  Sara (VPPL)" userId="7a5f1df4-0dd0-4c9e-a72f-a035cf318af6" providerId="ADAL" clId="{AAA37DE2-93D3-44F8-BE87-C19EC6771CD3}" dt="2023-09-21T07:58:44.442" v="4995" actId="790"/>
            <ac:spMkLst>
              <pc:docMk/>
              <pc:sldMasterMk cId="409606273" sldId="2147483648"/>
              <pc:sldLayoutMk cId="3016386643" sldId="2147483673"/>
              <ac:spMk id="9" creationId="{1AAB6914-2518-430D-BF4C-14EA51B61410}"/>
            </ac:spMkLst>
          </pc:spChg>
          <pc:spChg chg="mod">
            <ac:chgData name="van Leeuwen  Sara (VPPL)" userId="7a5f1df4-0dd0-4c9e-a72f-a035cf318af6" providerId="ADAL" clId="{AAA37DE2-93D3-44F8-BE87-C19EC6771CD3}" dt="2023-09-21T07:58:44.442" v="4994" actId="790"/>
            <ac:spMkLst>
              <pc:docMk/>
              <pc:sldMasterMk cId="409606273" sldId="2147483648"/>
              <pc:sldLayoutMk cId="3016386643" sldId="2147483673"/>
              <ac:spMk id="11" creationId="{221A3BAE-B19D-4390-B4A5-2C8A2CC87C59}"/>
            </ac:spMkLst>
          </pc:spChg>
          <pc:spChg chg="mod">
            <ac:chgData name="van Leeuwen  Sara (VPPL)" userId="7a5f1df4-0dd0-4c9e-a72f-a035cf318af6" providerId="ADAL" clId="{AAA37DE2-93D3-44F8-BE87-C19EC6771CD3}" dt="2023-09-21T07:58:44.442" v="4996" actId="790"/>
            <ac:spMkLst>
              <pc:docMk/>
              <pc:sldMasterMk cId="409606273" sldId="2147483648"/>
              <pc:sldLayoutMk cId="3016386643" sldId="2147483673"/>
              <ac:spMk id="12" creationId="{5092EEFB-079B-4C38-A665-E52B9837601B}"/>
            </ac:spMkLst>
          </pc:spChg>
          <pc:graphicFrameChg chg="mod">
            <ac:chgData name="van Leeuwen  Sara (VPPL)" userId="7a5f1df4-0dd0-4c9e-a72f-a035cf318af6" providerId="ADAL" clId="{AAA37DE2-93D3-44F8-BE87-C19EC6771CD3}" dt="2023-09-21T08:01:08.251" v="15384"/>
            <ac:graphicFrameMkLst>
              <pc:docMk/>
              <pc:sldMasterMk cId="409606273" sldId="2147483648"/>
              <pc:sldLayoutMk cId="3016386643" sldId="2147483673"/>
              <ac:graphicFrameMk id="10" creationId="{FD8CE8ED-C5D7-2E67-6534-6EF93D703418}"/>
            </ac:graphicFrameMkLst>
          </pc:graphicFrameChg>
        </pc:sldLayoutChg>
        <pc:sldLayoutChg chg="addSp delSp modSp mod">
          <pc:chgData name="van Leeuwen  Sara (VPPL)" userId="7a5f1df4-0dd0-4c9e-a72f-a035cf318af6" providerId="ADAL" clId="{AAA37DE2-93D3-44F8-BE87-C19EC6771CD3}" dt="2023-09-21T08:01:08.251" v="15386"/>
          <pc:sldLayoutMkLst>
            <pc:docMk/>
            <pc:sldMasterMk cId="409606273" sldId="2147483648"/>
            <pc:sldLayoutMk cId="2955461353" sldId="2147483674"/>
          </pc:sldLayoutMkLst>
          <pc:spChg chg="mod">
            <ac:chgData name="van Leeuwen  Sara (VPPL)" userId="7a5f1df4-0dd0-4c9e-a72f-a035cf318af6" providerId="ADAL" clId="{AAA37DE2-93D3-44F8-BE87-C19EC6771CD3}" dt="2023-09-21T08:01:07.890" v="14299" actId="948"/>
            <ac:spMkLst>
              <pc:docMk/>
              <pc:sldMasterMk cId="409606273" sldId="2147483648"/>
              <pc:sldLayoutMk cId="2955461353" sldId="2147483674"/>
              <ac:spMk id="2" creationId="{3346F7F9-CBC8-4641-B12B-7E76FD213E12}"/>
            </ac:spMkLst>
          </pc:spChg>
          <pc:spChg chg="mod">
            <ac:chgData name="van Leeuwen  Sara (VPPL)" userId="7a5f1df4-0dd0-4c9e-a72f-a035cf318af6" providerId="ADAL" clId="{AAA37DE2-93D3-44F8-BE87-C19EC6771CD3}" dt="2023-09-21T07:58:44.457" v="4998" actId="790"/>
            <ac:spMkLst>
              <pc:docMk/>
              <pc:sldMasterMk cId="409606273" sldId="2147483648"/>
              <pc:sldLayoutMk cId="2955461353" sldId="2147483674"/>
              <ac:spMk id="3" creationId="{87D3E2EF-5F98-49EC-BCEA-B215D49920A3}"/>
            </ac:spMkLst>
          </pc:spChg>
          <pc:spChg chg="mod">
            <ac:chgData name="van Leeuwen  Sara (VPPL)" userId="7a5f1df4-0dd0-4c9e-a72f-a035cf318af6" providerId="ADAL" clId="{AAA37DE2-93D3-44F8-BE87-C19EC6771CD3}" dt="2023-09-21T07:58:44.457" v="4999" actId="790"/>
            <ac:spMkLst>
              <pc:docMk/>
              <pc:sldMasterMk cId="409606273" sldId="2147483648"/>
              <pc:sldLayoutMk cId="2955461353" sldId="2147483674"/>
              <ac:spMk id="4" creationId="{67DB21BA-81C0-43DB-A42C-5F672DBC37F2}"/>
            </ac:spMkLst>
          </pc:spChg>
          <pc:spChg chg="mod">
            <ac:chgData name="van Leeuwen  Sara (VPPL)" userId="7a5f1df4-0dd0-4c9e-a72f-a035cf318af6" providerId="ADAL" clId="{AAA37DE2-93D3-44F8-BE87-C19EC6771CD3}" dt="2023-09-21T08:01:07.511" v="12818" actId="790"/>
            <ac:spMkLst>
              <pc:docMk/>
              <pc:sldMasterMk cId="409606273" sldId="2147483648"/>
              <pc:sldLayoutMk cId="2955461353" sldId="2147483674"/>
              <ac:spMk id="5" creationId="{1BC78786-28C3-4EAB-A3FC-1A4BFA8447EC}"/>
            </ac:spMkLst>
          </pc:spChg>
          <pc:spChg chg="mod">
            <ac:chgData name="van Leeuwen  Sara (VPPL)" userId="7a5f1df4-0dd0-4c9e-a72f-a035cf318af6" providerId="ADAL" clId="{AAA37DE2-93D3-44F8-BE87-C19EC6771CD3}" dt="2023-09-21T07:58:44.457" v="5001" actId="790"/>
            <ac:spMkLst>
              <pc:docMk/>
              <pc:sldMasterMk cId="409606273" sldId="2147483648"/>
              <pc:sldLayoutMk cId="2955461353" sldId="2147483674"/>
              <ac:spMk id="6" creationId="{0FC1D5C1-A4AD-42D4-93B7-D3B71140E3A1}"/>
            </ac:spMkLst>
          </pc:spChg>
          <pc:spChg chg="add del mod modVis">
            <ac:chgData name="van Leeuwen  Sara (VPPL)" userId="7a5f1df4-0dd0-4c9e-a72f-a035cf318af6" providerId="ADAL" clId="{AAA37DE2-93D3-44F8-BE87-C19EC6771CD3}" dt="2023-09-21T08:01:08.125" v="15283" actId="478"/>
            <ac:spMkLst>
              <pc:docMk/>
              <pc:sldMasterMk cId="409606273" sldId="2147483648"/>
              <pc:sldLayoutMk cId="2955461353" sldId="2147483674"/>
              <ac:spMk id="8" creationId="{642B310A-7D40-5B55-069A-D5292D40CC2F}"/>
            </ac:spMkLst>
          </pc:spChg>
          <pc:spChg chg="mod">
            <ac:chgData name="van Leeuwen  Sara (VPPL)" userId="7a5f1df4-0dd0-4c9e-a72f-a035cf318af6" providerId="ADAL" clId="{AAA37DE2-93D3-44F8-BE87-C19EC6771CD3}" dt="2023-09-21T07:58:44.457" v="5002" actId="790"/>
            <ac:spMkLst>
              <pc:docMk/>
              <pc:sldMasterMk cId="409606273" sldId="2147483648"/>
              <pc:sldLayoutMk cId="2955461353" sldId="2147483674"/>
              <ac:spMk id="11" creationId="{221A3BAE-B19D-4390-B4A5-2C8A2CC87C59}"/>
            </ac:spMkLst>
          </pc:spChg>
          <pc:spChg chg="mod">
            <ac:chgData name="van Leeuwen  Sara (VPPL)" userId="7a5f1df4-0dd0-4c9e-a72f-a035cf318af6" providerId="ADAL" clId="{AAA37DE2-93D3-44F8-BE87-C19EC6771CD3}" dt="2023-09-21T07:58:44.473" v="5003" actId="790"/>
            <ac:spMkLst>
              <pc:docMk/>
              <pc:sldMasterMk cId="409606273" sldId="2147483648"/>
              <pc:sldLayoutMk cId="2955461353" sldId="2147483674"/>
              <ac:spMk id="13" creationId="{36793346-BF6B-42A8-ADE0-3AA3DC3B239A}"/>
            </ac:spMkLst>
          </pc:spChg>
          <pc:spChg chg="mod">
            <ac:chgData name="van Leeuwen  Sara (VPPL)" userId="7a5f1df4-0dd0-4c9e-a72f-a035cf318af6" providerId="ADAL" clId="{AAA37DE2-93D3-44F8-BE87-C19EC6771CD3}" dt="2023-09-21T07:58:44.473" v="5004" actId="790"/>
            <ac:spMkLst>
              <pc:docMk/>
              <pc:sldMasterMk cId="409606273" sldId="2147483648"/>
              <pc:sldLayoutMk cId="2955461353" sldId="2147483674"/>
              <ac:spMk id="14" creationId="{FE637F68-618E-43EB-B240-4BFA26852FC5}"/>
            </ac:spMkLst>
          </pc:spChg>
          <pc:graphicFrameChg chg="mod">
            <ac:chgData name="van Leeuwen  Sara (VPPL)" userId="7a5f1df4-0dd0-4c9e-a72f-a035cf318af6" providerId="ADAL" clId="{AAA37DE2-93D3-44F8-BE87-C19EC6771CD3}" dt="2023-09-21T08:01:08.251" v="15386"/>
            <ac:graphicFrameMkLst>
              <pc:docMk/>
              <pc:sldMasterMk cId="409606273" sldId="2147483648"/>
              <pc:sldLayoutMk cId="2955461353" sldId="2147483674"/>
              <ac:graphicFrameMk id="9" creationId="{C7C215CA-7C36-65CF-4F4F-15FFDD722E3E}"/>
            </ac:graphicFrameMkLst>
          </pc:graphicFrameChg>
        </pc:sldLayoutChg>
        <pc:sldLayoutChg chg="addSp delSp modSp mod">
          <pc:chgData name="van Leeuwen  Sara (VPPL)" userId="7a5f1df4-0dd0-4c9e-a72f-a035cf318af6" providerId="ADAL" clId="{AAA37DE2-93D3-44F8-BE87-C19EC6771CD3}" dt="2023-09-21T08:01:08.251" v="15388"/>
          <pc:sldLayoutMkLst>
            <pc:docMk/>
            <pc:sldMasterMk cId="409606273" sldId="2147483648"/>
            <pc:sldLayoutMk cId="2096750995" sldId="2147483675"/>
          </pc:sldLayoutMkLst>
          <pc:spChg chg="mod">
            <ac:chgData name="van Leeuwen  Sara (VPPL)" userId="7a5f1df4-0dd0-4c9e-a72f-a035cf318af6" providerId="ADAL" clId="{AAA37DE2-93D3-44F8-BE87-C19EC6771CD3}" dt="2023-09-21T08:01:07.905" v="14335" actId="948"/>
            <ac:spMkLst>
              <pc:docMk/>
              <pc:sldMasterMk cId="409606273" sldId="2147483648"/>
              <pc:sldLayoutMk cId="2096750995" sldId="2147483675"/>
              <ac:spMk id="2" creationId="{3346F7F9-CBC8-4641-B12B-7E76FD213E12}"/>
            </ac:spMkLst>
          </pc:spChg>
          <pc:spChg chg="mod">
            <ac:chgData name="van Leeuwen  Sara (VPPL)" userId="7a5f1df4-0dd0-4c9e-a72f-a035cf318af6" providerId="ADAL" clId="{AAA37DE2-93D3-44F8-BE87-C19EC6771CD3}" dt="2023-09-21T07:58:44.473" v="5006" actId="790"/>
            <ac:spMkLst>
              <pc:docMk/>
              <pc:sldMasterMk cId="409606273" sldId="2147483648"/>
              <pc:sldLayoutMk cId="2096750995" sldId="2147483675"/>
              <ac:spMk id="3" creationId="{87D3E2EF-5F98-49EC-BCEA-B215D49920A3}"/>
            </ac:spMkLst>
          </pc:spChg>
          <pc:spChg chg="mod">
            <ac:chgData name="van Leeuwen  Sara (VPPL)" userId="7a5f1df4-0dd0-4c9e-a72f-a035cf318af6" providerId="ADAL" clId="{AAA37DE2-93D3-44F8-BE87-C19EC6771CD3}" dt="2023-09-21T07:58:44.473" v="5007" actId="790"/>
            <ac:spMkLst>
              <pc:docMk/>
              <pc:sldMasterMk cId="409606273" sldId="2147483648"/>
              <pc:sldLayoutMk cId="2096750995" sldId="2147483675"/>
              <ac:spMk id="4" creationId="{67DB21BA-81C0-43DB-A42C-5F672DBC37F2}"/>
            </ac:spMkLst>
          </pc:spChg>
          <pc:spChg chg="mod">
            <ac:chgData name="van Leeuwen  Sara (VPPL)" userId="7a5f1df4-0dd0-4c9e-a72f-a035cf318af6" providerId="ADAL" clId="{AAA37DE2-93D3-44F8-BE87-C19EC6771CD3}" dt="2023-09-21T08:01:07.515" v="12826" actId="790"/>
            <ac:spMkLst>
              <pc:docMk/>
              <pc:sldMasterMk cId="409606273" sldId="2147483648"/>
              <pc:sldLayoutMk cId="2096750995" sldId="2147483675"/>
              <ac:spMk id="5" creationId="{1BC78786-28C3-4EAB-A3FC-1A4BFA8447EC}"/>
            </ac:spMkLst>
          </pc:spChg>
          <pc:spChg chg="mod">
            <ac:chgData name="van Leeuwen  Sara (VPPL)" userId="7a5f1df4-0dd0-4c9e-a72f-a035cf318af6" providerId="ADAL" clId="{AAA37DE2-93D3-44F8-BE87-C19EC6771CD3}" dt="2023-09-21T07:58:44.489" v="5009" actId="790"/>
            <ac:spMkLst>
              <pc:docMk/>
              <pc:sldMasterMk cId="409606273" sldId="2147483648"/>
              <pc:sldLayoutMk cId="2096750995" sldId="2147483675"/>
              <ac:spMk id="6" creationId="{0FC1D5C1-A4AD-42D4-93B7-D3B71140E3A1}"/>
            </ac:spMkLst>
          </pc:spChg>
          <pc:spChg chg="add del mod modVis">
            <ac:chgData name="van Leeuwen  Sara (VPPL)" userId="7a5f1df4-0dd0-4c9e-a72f-a035cf318af6" providerId="ADAL" clId="{AAA37DE2-93D3-44F8-BE87-C19EC6771CD3}" dt="2023-09-21T08:01:08.125" v="15285" actId="478"/>
            <ac:spMkLst>
              <pc:docMk/>
              <pc:sldMasterMk cId="409606273" sldId="2147483648"/>
              <pc:sldLayoutMk cId="2096750995" sldId="2147483675"/>
              <ac:spMk id="8" creationId="{38CFC843-F622-3A11-94EB-E8A9B5219979}"/>
            </ac:spMkLst>
          </pc:spChg>
          <pc:spChg chg="mod">
            <ac:chgData name="van Leeuwen  Sara (VPPL)" userId="7a5f1df4-0dd0-4c9e-a72f-a035cf318af6" providerId="ADAL" clId="{AAA37DE2-93D3-44F8-BE87-C19EC6771CD3}" dt="2023-09-21T07:58:44.489" v="5010" actId="790"/>
            <ac:spMkLst>
              <pc:docMk/>
              <pc:sldMasterMk cId="409606273" sldId="2147483648"/>
              <pc:sldLayoutMk cId="2096750995" sldId="2147483675"/>
              <ac:spMk id="9" creationId="{A1D947E6-CC00-458E-BDE1-B0877E30333C}"/>
            </ac:spMkLst>
          </pc:spChg>
          <pc:graphicFrameChg chg="mod">
            <ac:chgData name="van Leeuwen  Sara (VPPL)" userId="7a5f1df4-0dd0-4c9e-a72f-a035cf318af6" providerId="ADAL" clId="{AAA37DE2-93D3-44F8-BE87-C19EC6771CD3}" dt="2023-09-21T08:01:08.251" v="15388"/>
            <ac:graphicFrameMkLst>
              <pc:docMk/>
              <pc:sldMasterMk cId="409606273" sldId="2147483648"/>
              <pc:sldLayoutMk cId="2096750995" sldId="2147483675"/>
              <ac:graphicFrameMk id="10" creationId="{899DC44F-C574-5B2D-93A0-C3BBD5A7F4C4}"/>
            </ac:graphicFrameMkLst>
          </pc:graphicFrameChg>
        </pc:sldLayoutChg>
        <pc:sldLayoutChg chg="modSp mod">
          <pc:chgData name="van Leeuwen  Sara (VPPL)" userId="7a5f1df4-0dd0-4c9e-a72f-a035cf318af6" providerId="ADAL" clId="{AAA37DE2-93D3-44F8-BE87-C19EC6771CD3}" dt="2023-09-21T08:01:08.266" v="15390"/>
          <pc:sldLayoutMkLst>
            <pc:docMk/>
            <pc:sldMasterMk cId="409606273" sldId="2147483648"/>
            <pc:sldLayoutMk cId="3039831707" sldId="2147483676"/>
          </pc:sldLayoutMkLst>
          <pc:spChg chg="mod">
            <ac:chgData name="van Leeuwen  Sara (VPPL)" userId="7a5f1df4-0dd0-4c9e-a72f-a035cf318af6" providerId="ADAL" clId="{AAA37DE2-93D3-44F8-BE87-C19EC6771CD3}" dt="2023-09-21T07:58:44.489" v="5011" actId="790"/>
            <ac:spMkLst>
              <pc:docMk/>
              <pc:sldMasterMk cId="409606273" sldId="2147483648"/>
              <pc:sldLayoutMk cId="3039831707" sldId="2147483676"/>
              <ac:spMk id="20" creationId="{394B20FF-3667-40DF-92A1-C6CF3BBCA26D}"/>
            </ac:spMkLst>
          </pc:spChg>
          <pc:spChg chg="mod">
            <ac:chgData name="van Leeuwen  Sara (VPPL)" userId="7a5f1df4-0dd0-4c9e-a72f-a035cf318af6" providerId="ADAL" clId="{AAA37DE2-93D3-44F8-BE87-C19EC6771CD3}" dt="2023-09-21T07:58:44.489" v="5012" actId="790"/>
            <ac:spMkLst>
              <pc:docMk/>
              <pc:sldMasterMk cId="409606273" sldId="2147483648"/>
              <pc:sldLayoutMk cId="3039831707" sldId="2147483676"/>
              <ac:spMk id="21" creationId="{794484F1-3B7F-46CE-AD0B-2310A557A990}"/>
            </ac:spMkLst>
          </pc:spChg>
          <pc:graphicFrameChg chg="mod">
            <ac:chgData name="van Leeuwen  Sara (VPPL)" userId="7a5f1df4-0dd0-4c9e-a72f-a035cf318af6" providerId="ADAL" clId="{AAA37DE2-93D3-44F8-BE87-C19EC6771CD3}" dt="2023-09-21T08:01:08.266" v="15390"/>
            <ac:graphicFrameMkLst>
              <pc:docMk/>
              <pc:sldMasterMk cId="409606273" sldId="2147483648"/>
              <pc:sldLayoutMk cId="3039831707" sldId="2147483676"/>
              <ac:graphicFrameMk id="2" creationId="{7F5A84A5-5D39-FE48-9BDA-C1D259F9FD3D}"/>
            </ac:graphicFrameMkLst>
          </pc:graphicFrameChg>
        </pc:sldLayoutChg>
        <pc:sldLayoutChg chg="addSp delSp modSp mod">
          <pc:chgData name="van Leeuwen  Sara (VPPL)" userId="7a5f1df4-0dd0-4c9e-a72f-a035cf318af6" providerId="ADAL" clId="{AAA37DE2-93D3-44F8-BE87-C19EC6771CD3}" dt="2023-09-21T08:01:08.219" v="15368"/>
          <pc:sldLayoutMkLst>
            <pc:docMk/>
            <pc:sldMasterMk cId="409606273" sldId="2147483648"/>
            <pc:sldLayoutMk cId="2582942470" sldId="2147483678"/>
          </pc:sldLayoutMkLst>
          <pc:spChg chg="mod">
            <ac:chgData name="van Leeuwen  Sara (VPPL)" userId="7a5f1df4-0dd0-4c9e-a72f-a035cf318af6" providerId="ADAL" clId="{AAA37DE2-93D3-44F8-BE87-C19EC6771CD3}" dt="2023-09-21T08:01:07.842" v="14119" actId="948"/>
            <ac:spMkLst>
              <pc:docMk/>
              <pc:sldMasterMk cId="409606273" sldId="2147483648"/>
              <pc:sldLayoutMk cId="2582942470" sldId="2147483678"/>
              <ac:spMk id="2" creationId="{3491294E-BEE7-4DA8-BBC8-88E1A7B07AEF}"/>
            </ac:spMkLst>
          </pc:spChg>
          <pc:spChg chg="add del mod modVis">
            <ac:chgData name="van Leeuwen  Sara (VPPL)" userId="7a5f1df4-0dd0-4c9e-a72f-a035cf318af6" providerId="ADAL" clId="{AAA37DE2-93D3-44F8-BE87-C19EC6771CD3}" dt="2023-09-21T08:01:08.125" v="15272" actId="478"/>
            <ac:spMkLst>
              <pc:docMk/>
              <pc:sldMasterMk cId="409606273" sldId="2147483648"/>
              <pc:sldLayoutMk cId="2582942470" sldId="2147483678"/>
              <ac:spMk id="3" creationId="{1E7ED517-E604-2A5F-B57D-AE708A3EE504}"/>
            </ac:spMkLst>
          </pc:spChg>
          <pc:spChg chg="mod">
            <ac:chgData name="van Leeuwen  Sara (VPPL)" userId="7a5f1df4-0dd0-4c9e-a72f-a035cf318af6" providerId="ADAL" clId="{AAA37DE2-93D3-44F8-BE87-C19EC6771CD3}" dt="2023-09-21T07:58:44.267" v="4900" actId="790"/>
            <ac:spMkLst>
              <pc:docMk/>
              <pc:sldMasterMk cId="409606273" sldId="2147483648"/>
              <pc:sldLayoutMk cId="2582942470" sldId="2147483678"/>
              <ac:spMk id="4" creationId="{EE41BE31-9613-4103-99FF-7DCFF643B329}"/>
            </ac:spMkLst>
          </pc:spChg>
          <pc:spChg chg="mod">
            <ac:chgData name="van Leeuwen  Sara (VPPL)" userId="7a5f1df4-0dd0-4c9e-a72f-a035cf318af6" providerId="ADAL" clId="{AAA37DE2-93D3-44F8-BE87-C19EC6771CD3}" dt="2023-09-21T07:58:44.251" v="4897" actId="790"/>
            <ac:spMkLst>
              <pc:docMk/>
              <pc:sldMasterMk cId="409606273" sldId="2147483648"/>
              <pc:sldLayoutMk cId="2582942470" sldId="2147483678"/>
              <ac:spMk id="5" creationId="{EB061823-3F7A-48C8-8477-B410C18AC1B7}"/>
            </ac:spMkLst>
          </pc:spChg>
          <pc:spChg chg="mod">
            <ac:chgData name="van Leeuwen  Sara (VPPL)" userId="7a5f1df4-0dd0-4c9e-a72f-a035cf318af6" providerId="ADAL" clId="{AAA37DE2-93D3-44F8-BE87-C19EC6771CD3}" dt="2023-09-21T07:58:44.267" v="4901" actId="790"/>
            <ac:spMkLst>
              <pc:docMk/>
              <pc:sldMasterMk cId="409606273" sldId="2147483648"/>
              <pc:sldLayoutMk cId="2582942470" sldId="2147483678"/>
              <ac:spMk id="6" creationId="{EDEB298C-798E-4D73-9DD6-F896C06530C1}"/>
            </ac:spMkLst>
          </pc:spChg>
          <pc:spChg chg="mod">
            <ac:chgData name="van Leeuwen  Sara (VPPL)" userId="7a5f1df4-0dd0-4c9e-a72f-a035cf318af6" providerId="ADAL" clId="{AAA37DE2-93D3-44F8-BE87-C19EC6771CD3}" dt="2023-09-21T07:58:44.267" v="4899" actId="790"/>
            <ac:spMkLst>
              <pc:docMk/>
              <pc:sldMasterMk cId="409606273" sldId="2147483648"/>
              <pc:sldLayoutMk cId="2582942470" sldId="2147483678"/>
              <ac:spMk id="9" creationId="{C3C296D1-2CD0-479F-A866-6EC741D2293B}"/>
            </ac:spMkLst>
          </pc:spChg>
          <pc:graphicFrameChg chg="mod">
            <ac:chgData name="van Leeuwen  Sara (VPPL)" userId="7a5f1df4-0dd0-4c9e-a72f-a035cf318af6" providerId="ADAL" clId="{AAA37DE2-93D3-44F8-BE87-C19EC6771CD3}" dt="2023-09-21T08:01:08.219" v="15368"/>
            <ac:graphicFrameMkLst>
              <pc:docMk/>
              <pc:sldMasterMk cId="409606273" sldId="2147483648"/>
              <pc:sldLayoutMk cId="2582942470" sldId="2147483678"/>
              <ac:graphicFrameMk id="7" creationId="{B07E5EDB-4F3E-683F-C9F4-54873E5EF298}"/>
            </ac:graphicFrameMkLst>
          </pc:graphicFrameChg>
        </pc:sldLayoutChg>
        <pc:sldLayoutChg chg="addSp delSp modSp mod">
          <pc:chgData name="van Leeuwen  Sara (VPPL)" userId="7a5f1df4-0dd0-4c9e-a72f-a035cf318af6" providerId="ADAL" clId="{AAA37DE2-93D3-44F8-BE87-C19EC6771CD3}" dt="2023-09-21T08:01:08.282" v="15398"/>
          <pc:sldLayoutMkLst>
            <pc:docMk/>
            <pc:sldMasterMk cId="409606273" sldId="2147483648"/>
            <pc:sldLayoutMk cId="2745712561" sldId="2147483679"/>
          </pc:sldLayoutMkLst>
          <pc:spChg chg="mod">
            <ac:chgData name="van Leeuwen  Sara (VPPL)" userId="7a5f1df4-0dd0-4c9e-a72f-a035cf318af6" providerId="ADAL" clId="{AAA37DE2-93D3-44F8-BE87-C19EC6771CD3}" dt="2023-09-21T08:01:07.952" v="14515" actId="948"/>
            <ac:spMkLst>
              <pc:docMk/>
              <pc:sldMasterMk cId="409606273" sldId="2147483648"/>
              <pc:sldLayoutMk cId="2745712561" sldId="2147483679"/>
              <ac:spMk id="2" creationId="{3491294E-BEE7-4DA8-BBC8-88E1A7B07AEF}"/>
            </ac:spMkLst>
          </pc:spChg>
          <pc:spChg chg="add del mod modVis">
            <ac:chgData name="van Leeuwen  Sara (VPPL)" userId="7a5f1df4-0dd0-4c9e-a72f-a035cf318af6" providerId="ADAL" clId="{AAA37DE2-93D3-44F8-BE87-C19EC6771CD3}" dt="2023-09-21T08:01:08.141" v="15296" actId="478"/>
            <ac:spMkLst>
              <pc:docMk/>
              <pc:sldMasterMk cId="409606273" sldId="2147483648"/>
              <pc:sldLayoutMk cId="2745712561" sldId="2147483679"/>
              <ac:spMk id="3" creationId="{93CC353D-9D9B-A528-41D2-E417B5D3E553}"/>
            </ac:spMkLst>
          </pc:spChg>
          <pc:spChg chg="mod">
            <ac:chgData name="van Leeuwen  Sara (VPPL)" userId="7a5f1df4-0dd0-4c9e-a72f-a035cf318af6" providerId="ADAL" clId="{AAA37DE2-93D3-44F8-BE87-C19EC6771CD3}" dt="2023-09-21T07:58:44.283" v="4906" actId="790"/>
            <ac:spMkLst>
              <pc:docMk/>
              <pc:sldMasterMk cId="409606273" sldId="2147483648"/>
              <pc:sldLayoutMk cId="2745712561" sldId="2147483679"/>
              <ac:spMk id="8" creationId="{547D2927-4A99-4714-8EBA-F773EAA26308}"/>
            </ac:spMkLst>
          </pc:spChg>
          <pc:spChg chg="mod">
            <ac:chgData name="van Leeuwen  Sara (VPPL)" userId="7a5f1df4-0dd0-4c9e-a72f-a035cf318af6" providerId="ADAL" clId="{AAA37DE2-93D3-44F8-BE87-C19EC6771CD3}" dt="2023-09-21T07:58:44.283" v="4904" actId="790"/>
            <ac:spMkLst>
              <pc:docMk/>
              <pc:sldMasterMk cId="409606273" sldId="2147483648"/>
              <pc:sldLayoutMk cId="2745712561" sldId="2147483679"/>
              <ac:spMk id="9" creationId="{003A487C-8977-4264-A8A1-D6C1DB604682}"/>
            </ac:spMkLst>
          </pc:spChg>
          <pc:spChg chg="mod">
            <ac:chgData name="van Leeuwen  Sara (VPPL)" userId="7a5f1df4-0dd0-4c9e-a72f-a035cf318af6" providerId="ADAL" clId="{AAA37DE2-93D3-44F8-BE87-C19EC6771CD3}" dt="2023-09-21T07:58:44.267" v="4902" actId="790"/>
            <ac:spMkLst>
              <pc:docMk/>
              <pc:sldMasterMk cId="409606273" sldId="2147483648"/>
              <pc:sldLayoutMk cId="2745712561" sldId="2147483679"/>
              <ac:spMk id="11" creationId="{8A01615F-450E-43D0-B554-DA3FBD48DF34}"/>
            </ac:spMkLst>
          </pc:spChg>
          <pc:spChg chg="mod">
            <ac:chgData name="van Leeuwen  Sara (VPPL)" userId="7a5f1df4-0dd0-4c9e-a72f-a035cf318af6" providerId="ADAL" clId="{AAA37DE2-93D3-44F8-BE87-C19EC6771CD3}" dt="2023-09-21T07:58:44.283" v="4905" actId="790"/>
            <ac:spMkLst>
              <pc:docMk/>
              <pc:sldMasterMk cId="409606273" sldId="2147483648"/>
              <pc:sldLayoutMk cId="2745712561" sldId="2147483679"/>
              <ac:spMk id="13" creationId="{E91D3734-CD8F-4F94-A813-570EF31C4732}"/>
            </ac:spMkLst>
          </pc:spChg>
          <pc:graphicFrameChg chg="mod">
            <ac:chgData name="van Leeuwen  Sara (VPPL)" userId="7a5f1df4-0dd0-4c9e-a72f-a035cf318af6" providerId="ADAL" clId="{AAA37DE2-93D3-44F8-BE87-C19EC6771CD3}" dt="2023-09-21T08:01:08.282" v="15398"/>
            <ac:graphicFrameMkLst>
              <pc:docMk/>
              <pc:sldMasterMk cId="409606273" sldId="2147483648"/>
              <pc:sldLayoutMk cId="2745712561" sldId="2147483679"/>
              <ac:graphicFrameMk id="4" creationId="{71D032AB-E3F2-C9C2-3D41-29B4E131A95C}"/>
            </ac:graphicFrameMkLst>
          </pc:graphicFrameChg>
        </pc:sldLayoutChg>
        <pc:sldLayoutChg chg="addSp delSp modSp mod">
          <pc:chgData name="van Leeuwen  Sara (VPPL)" userId="7a5f1df4-0dd0-4c9e-a72f-a035cf318af6" providerId="ADAL" clId="{AAA37DE2-93D3-44F8-BE87-C19EC6771CD3}" dt="2023-09-21T08:01:08.266" v="15392"/>
          <pc:sldLayoutMkLst>
            <pc:docMk/>
            <pc:sldMasterMk cId="409606273" sldId="2147483648"/>
            <pc:sldLayoutMk cId="1333595292" sldId="2147483680"/>
          </pc:sldLayoutMkLst>
          <pc:spChg chg="mod">
            <ac:chgData name="van Leeuwen  Sara (VPPL)" userId="7a5f1df4-0dd0-4c9e-a72f-a035cf318af6" providerId="ADAL" clId="{AAA37DE2-93D3-44F8-BE87-C19EC6771CD3}" dt="2023-09-21T08:01:07.921" v="14371" actId="948"/>
            <ac:spMkLst>
              <pc:docMk/>
              <pc:sldMasterMk cId="409606273" sldId="2147483648"/>
              <pc:sldLayoutMk cId="1333595292" sldId="2147483680"/>
              <ac:spMk id="2" creationId="{3491294E-BEE7-4DA8-BBC8-88E1A7B07AEF}"/>
            </ac:spMkLst>
          </pc:spChg>
          <pc:spChg chg="mod">
            <ac:chgData name="van Leeuwen  Sara (VPPL)" userId="7a5f1df4-0dd0-4c9e-a72f-a035cf318af6" providerId="ADAL" clId="{AAA37DE2-93D3-44F8-BE87-C19EC6771CD3}" dt="2023-09-21T08:01:07.464" v="12728" actId="20577"/>
            <ac:spMkLst>
              <pc:docMk/>
              <pc:sldMasterMk cId="409606273" sldId="2147483648"/>
              <pc:sldLayoutMk cId="1333595292" sldId="2147483680"/>
              <ac:spMk id="3" creationId="{62D94F76-218E-49F2-87F8-05982912ED18}"/>
            </ac:spMkLst>
          </pc:spChg>
          <pc:spChg chg="add del mod modVis">
            <ac:chgData name="van Leeuwen  Sara (VPPL)" userId="7a5f1df4-0dd0-4c9e-a72f-a035cf318af6" providerId="ADAL" clId="{AAA37DE2-93D3-44F8-BE87-C19EC6771CD3}" dt="2023-09-21T08:01:08.125" v="15288" actId="478"/>
            <ac:spMkLst>
              <pc:docMk/>
              <pc:sldMasterMk cId="409606273" sldId="2147483648"/>
              <pc:sldLayoutMk cId="1333595292" sldId="2147483680"/>
              <ac:spMk id="4" creationId="{11A51E4A-91B4-8D14-3C8D-96CB4F13D00C}"/>
            </ac:spMkLst>
          </pc:spChg>
          <pc:spChg chg="mod">
            <ac:chgData name="van Leeuwen  Sara (VPPL)" userId="7a5f1df4-0dd0-4c9e-a72f-a035cf318af6" providerId="ADAL" clId="{AAA37DE2-93D3-44F8-BE87-C19EC6771CD3}" dt="2023-09-21T07:58:44.299" v="4912" actId="790"/>
            <ac:spMkLst>
              <pc:docMk/>
              <pc:sldMasterMk cId="409606273" sldId="2147483648"/>
              <pc:sldLayoutMk cId="1333595292" sldId="2147483680"/>
              <ac:spMk id="7" creationId="{0503E57F-F89F-431B-8D38-7CC97B7C201A}"/>
            </ac:spMkLst>
          </pc:spChg>
          <pc:spChg chg="mod">
            <ac:chgData name="van Leeuwen  Sara (VPPL)" userId="7a5f1df4-0dd0-4c9e-a72f-a035cf318af6" providerId="ADAL" clId="{AAA37DE2-93D3-44F8-BE87-C19EC6771CD3}" dt="2023-09-21T07:58:44.299" v="4914" actId="790"/>
            <ac:spMkLst>
              <pc:docMk/>
              <pc:sldMasterMk cId="409606273" sldId="2147483648"/>
              <pc:sldLayoutMk cId="1333595292" sldId="2147483680"/>
              <ac:spMk id="8" creationId="{4ADF7DEC-21BD-45CA-9E91-B9F58A69F621}"/>
            </ac:spMkLst>
          </pc:spChg>
          <pc:spChg chg="mod">
            <ac:chgData name="van Leeuwen  Sara (VPPL)" userId="7a5f1df4-0dd0-4c9e-a72f-a035cf318af6" providerId="ADAL" clId="{AAA37DE2-93D3-44F8-BE87-C19EC6771CD3}" dt="2023-09-21T07:58:44.299" v="4913" actId="790"/>
            <ac:spMkLst>
              <pc:docMk/>
              <pc:sldMasterMk cId="409606273" sldId="2147483648"/>
              <pc:sldLayoutMk cId="1333595292" sldId="2147483680"/>
              <ac:spMk id="12" creationId="{1BEB6197-C509-4752-B57E-CEE955F5D926}"/>
            </ac:spMkLst>
          </pc:spChg>
          <pc:graphicFrameChg chg="mod">
            <ac:chgData name="van Leeuwen  Sara (VPPL)" userId="7a5f1df4-0dd0-4c9e-a72f-a035cf318af6" providerId="ADAL" clId="{AAA37DE2-93D3-44F8-BE87-C19EC6771CD3}" dt="2023-09-21T08:01:08.266" v="15392"/>
            <ac:graphicFrameMkLst>
              <pc:docMk/>
              <pc:sldMasterMk cId="409606273" sldId="2147483648"/>
              <pc:sldLayoutMk cId="1333595292" sldId="2147483680"/>
              <ac:graphicFrameMk id="5" creationId="{40DA53BB-66D9-7F73-CECF-6387E332825A}"/>
            </ac:graphicFrameMkLst>
          </pc:graphicFrameChg>
        </pc:sldLayoutChg>
        <pc:sldLayoutChg chg="addSp delSp modSp mod">
          <pc:chgData name="van Leeuwen  Sara (VPPL)" userId="7a5f1df4-0dd0-4c9e-a72f-a035cf318af6" providerId="ADAL" clId="{AAA37DE2-93D3-44F8-BE87-C19EC6771CD3}" dt="2023-09-21T08:01:08.266" v="15394"/>
          <pc:sldLayoutMkLst>
            <pc:docMk/>
            <pc:sldMasterMk cId="409606273" sldId="2147483648"/>
            <pc:sldLayoutMk cId="3987581940" sldId="2147483681"/>
          </pc:sldLayoutMkLst>
          <pc:spChg chg="mod">
            <ac:chgData name="van Leeuwen  Sara (VPPL)" userId="7a5f1df4-0dd0-4c9e-a72f-a035cf318af6" providerId="ADAL" clId="{AAA37DE2-93D3-44F8-BE87-C19EC6771CD3}" dt="2023-09-21T08:01:07.921" v="14407" actId="948"/>
            <ac:spMkLst>
              <pc:docMk/>
              <pc:sldMasterMk cId="409606273" sldId="2147483648"/>
              <pc:sldLayoutMk cId="3987581940" sldId="2147483681"/>
              <ac:spMk id="2" creationId="{3491294E-BEE7-4DA8-BBC8-88E1A7B07AEF}"/>
            </ac:spMkLst>
          </pc:spChg>
          <pc:spChg chg="add del mod modVis">
            <ac:chgData name="van Leeuwen  Sara (VPPL)" userId="7a5f1df4-0dd0-4c9e-a72f-a035cf318af6" providerId="ADAL" clId="{AAA37DE2-93D3-44F8-BE87-C19EC6771CD3}" dt="2023-09-21T08:01:08.125" v="15290" actId="478"/>
            <ac:spMkLst>
              <pc:docMk/>
              <pc:sldMasterMk cId="409606273" sldId="2147483648"/>
              <pc:sldLayoutMk cId="3987581940" sldId="2147483681"/>
              <ac:spMk id="3" creationId="{B68142DF-991D-EA6D-DA02-72A578D305F9}"/>
            </ac:spMkLst>
          </pc:spChg>
          <pc:spChg chg="mod">
            <ac:chgData name="van Leeuwen  Sara (VPPL)" userId="7a5f1df4-0dd0-4c9e-a72f-a035cf318af6" providerId="ADAL" clId="{AAA37DE2-93D3-44F8-BE87-C19EC6771CD3}" dt="2023-09-21T07:58:44.299" v="4916" actId="790"/>
            <ac:spMkLst>
              <pc:docMk/>
              <pc:sldMasterMk cId="409606273" sldId="2147483648"/>
              <pc:sldLayoutMk cId="3987581940" sldId="2147483681"/>
              <ac:spMk id="6" creationId="{5FCAD79B-EF47-46A0-9575-229F3DAA72F5}"/>
            </ac:spMkLst>
          </pc:spChg>
          <pc:spChg chg="mod">
            <ac:chgData name="van Leeuwen  Sara (VPPL)" userId="7a5f1df4-0dd0-4c9e-a72f-a035cf318af6" providerId="ADAL" clId="{AAA37DE2-93D3-44F8-BE87-C19EC6771CD3}" dt="2023-09-21T07:58:44.314" v="4918" actId="790"/>
            <ac:spMkLst>
              <pc:docMk/>
              <pc:sldMasterMk cId="409606273" sldId="2147483648"/>
              <pc:sldLayoutMk cId="3987581940" sldId="2147483681"/>
              <ac:spMk id="7" creationId="{789A3267-E086-4EC3-A0BB-F8ECD01A5C7E}"/>
            </ac:spMkLst>
          </pc:spChg>
          <pc:spChg chg="mod">
            <ac:chgData name="van Leeuwen  Sara (VPPL)" userId="7a5f1df4-0dd0-4c9e-a72f-a035cf318af6" providerId="ADAL" clId="{AAA37DE2-93D3-44F8-BE87-C19EC6771CD3}" dt="2023-09-21T07:58:44.314" v="4917" actId="790"/>
            <ac:spMkLst>
              <pc:docMk/>
              <pc:sldMasterMk cId="409606273" sldId="2147483648"/>
              <pc:sldLayoutMk cId="3987581940" sldId="2147483681"/>
              <ac:spMk id="8" creationId="{72236FC6-C8FF-43C1-86B9-BF112345926F}"/>
            </ac:spMkLst>
          </pc:spChg>
          <pc:graphicFrameChg chg="mod">
            <ac:chgData name="van Leeuwen  Sara (VPPL)" userId="7a5f1df4-0dd0-4c9e-a72f-a035cf318af6" providerId="ADAL" clId="{AAA37DE2-93D3-44F8-BE87-C19EC6771CD3}" dt="2023-09-21T08:01:08.266" v="15394"/>
            <ac:graphicFrameMkLst>
              <pc:docMk/>
              <pc:sldMasterMk cId="409606273" sldId="2147483648"/>
              <pc:sldLayoutMk cId="3987581940" sldId="2147483681"/>
              <ac:graphicFrameMk id="4" creationId="{6F3A83FC-24AD-6BCE-AF56-A1CFBE66824B}"/>
            </ac:graphicFrameMkLst>
          </pc:graphicFrameChg>
        </pc:sldLayoutChg>
        <pc:sldLayoutChg chg="addSp delSp modSp mod">
          <pc:chgData name="van Leeuwen  Sara (VPPL)" userId="7a5f1df4-0dd0-4c9e-a72f-a035cf318af6" providerId="ADAL" clId="{AAA37DE2-93D3-44F8-BE87-C19EC6771CD3}" dt="2023-09-21T08:01:08.266" v="15396"/>
          <pc:sldLayoutMkLst>
            <pc:docMk/>
            <pc:sldMasterMk cId="409606273" sldId="2147483648"/>
            <pc:sldLayoutMk cId="3929383066" sldId="2147483682"/>
          </pc:sldLayoutMkLst>
          <pc:spChg chg="mod">
            <ac:chgData name="van Leeuwen  Sara (VPPL)" userId="7a5f1df4-0dd0-4c9e-a72f-a035cf318af6" providerId="ADAL" clId="{AAA37DE2-93D3-44F8-BE87-C19EC6771CD3}" dt="2023-09-21T08:01:07.937" v="14443" actId="948"/>
            <ac:spMkLst>
              <pc:docMk/>
              <pc:sldMasterMk cId="409606273" sldId="2147483648"/>
              <pc:sldLayoutMk cId="3929383066" sldId="2147483682"/>
              <ac:spMk id="2" creationId="{3491294E-BEE7-4DA8-BBC8-88E1A7B07AEF}"/>
            </ac:spMkLst>
          </pc:spChg>
          <pc:spChg chg="add del mod modVis">
            <ac:chgData name="van Leeuwen  Sara (VPPL)" userId="7a5f1df4-0dd0-4c9e-a72f-a035cf318af6" providerId="ADAL" clId="{AAA37DE2-93D3-44F8-BE87-C19EC6771CD3}" dt="2023-09-21T08:01:08.125" v="15292" actId="478"/>
            <ac:spMkLst>
              <pc:docMk/>
              <pc:sldMasterMk cId="409606273" sldId="2147483648"/>
              <pc:sldLayoutMk cId="3929383066" sldId="2147483682"/>
              <ac:spMk id="3" creationId="{5F420319-18FB-8551-CAFB-087BD0D3175D}"/>
            </ac:spMkLst>
          </pc:spChg>
          <pc:spChg chg="mod">
            <ac:chgData name="van Leeuwen  Sara (VPPL)" userId="7a5f1df4-0dd0-4c9e-a72f-a035cf318af6" providerId="ADAL" clId="{AAA37DE2-93D3-44F8-BE87-C19EC6771CD3}" dt="2023-09-21T07:58:44.314" v="4919" actId="790"/>
            <ac:spMkLst>
              <pc:docMk/>
              <pc:sldMasterMk cId="409606273" sldId="2147483648"/>
              <pc:sldLayoutMk cId="3929383066" sldId="2147483682"/>
              <ac:spMk id="5" creationId="{EB061823-3F7A-48C8-8477-B410C18AC1B7}"/>
            </ac:spMkLst>
          </pc:spChg>
          <pc:spChg chg="mod">
            <ac:chgData name="van Leeuwen  Sara (VPPL)" userId="7a5f1df4-0dd0-4c9e-a72f-a035cf318af6" providerId="ADAL" clId="{AAA37DE2-93D3-44F8-BE87-C19EC6771CD3}" dt="2023-09-21T07:58:44.314" v="4921" actId="790"/>
            <ac:spMkLst>
              <pc:docMk/>
              <pc:sldMasterMk cId="409606273" sldId="2147483648"/>
              <pc:sldLayoutMk cId="3929383066" sldId="2147483682"/>
              <ac:spMk id="7" creationId="{D364BCB8-820F-4C3A-BA37-7048A4C8D4C3}"/>
            </ac:spMkLst>
          </pc:spChg>
          <pc:spChg chg="mod">
            <ac:chgData name="van Leeuwen  Sara (VPPL)" userId="7a5f1df4-0dd0-4c9e-a72f-a035cf318af6" providerId="ADAL" clId="{AAA37DE2-93D3-44F8-BE87-C19EC6771CD3}" dt="2023-09-21T07:58:44.330" v="4923" actId="790"/>
            <ac:spMkLst>
              <pc:docMk/>
              <pc:sldMasterMk cId="409606273" sldId="2147483648"/>
              <pc:sldLayoutMk cId="3929383066" sldId="2147483682"/>
              <ac:spMk id="9" creationId="{791A1AD7-DB7D-4C75-BEFB-EB6D34D3B2AB}"/>
            </ac:spMkLst>
          </pc:spChg>
          <pc:spChg chg="mod">
            <ac:chgData name="van Leeuwen  Sara (VPPL)" userId="7a5f1df4-0dd0-4c9e-a72f-a035cf318af6" providerId="ADAL" clId="{AAA37DE2-93D3-44F8-BE87-C19EC6771CD3}" dt="2023-09-21T07:58:44.314" v="4922" actId="790"/>
            <ac:spMkLst>
              <pc:docMk/>
              <pc:sldMasterMk cId="409606273" sldId="2147483648"/>
              <pc:sldLayoutMk cId="3929383066" sldId="2147483682"/>
              <ac:spMk id="11" creationId="{A73913C2-8DFE-4F15-B2DB-2A6D5C267009}"/>
            </ac:spMkLst>
          </pc:spChg>
          <pc:graphicFrameChg chg="mod">
            <ac:chgData name="van Leeuwen  Sara (VPPL)" userId="7a5f1df4-0dd0-4c9e-a72f-a035cf318af6" providerId="ADAL" clId="{AAA37DE2-93D3-44F8-BE87-C19EC6771CD3}" dt="2023-09-21T08:01:08.266" v="15396"/>
            <ac:graphicFrameMkLst>
              <pc:docMk/>
              <pc:sldMasterMk cId="409606273" sldId="2147483648"/>
              <pc:sldLayoutMk cId="3929383066" sldId="2147483682"/>
              <ac:graphicFrameMk id="6" creationId="{904602C9-06E1-DF73-1C1F-D43792326339}"/>
            </ac:graphicFrameMkLst>
          </pc:graphicFrame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de-CH"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990000FF-34E5-DB47-BDDD-010B79D22DD1}" type="datetimeFigureOut">
              <a:rPr lang="de-CH" smtClean="0"/>
              <a:pPr/>
              <a:t>29.02.2024</a:t>
            </a:fld>
            <a:endParaRPr lang="de-CH"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CH"/>
              <a:t>Mastertextformat bearbeiten</a:t>
            </a:r>
          </a:p>
          <a:p>
            <a:pPr lvl="1"/>
            <a:r>
              <a:rPr lang="de-CH"/>
              <a:t>Zweite Ebene</a:t>
            </a:r>
          </a:p>
          <a:p>
            <a:pPr lvl="2"/>
            <a:r>
              <a:rPr lang="de-CH"/>
              <a:t>Dritte Ebene</a:t>
            </a:r>
          </a:p>
          <a:p>
            <a:pPr lvl="3"/>
            <a:r>
              <a:rPr lang="de-CH"/>
              <a:t>Vierte Ebene</a:t>
            </a:r>
          </a:p>
          <a:p>
            <a:pPr lvl="4"/>
            <a:r>
              <a:rPr lang="de-CH"/>
              <a:t>Fünfte Ebene</a:t>
            </a:r>
            <a:endParaRPr lang="de-CH"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de-CH"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49C27981-12E6-E341-99D3-6937B67364B5}" type="slidenum">
              <a:rPr lang="de-CH" smtClean="0"/>
              <a:pPr/>
              <a:t>‹#›</a:t>
            </a:fld>
            <a:endParaRPr lang="de-CH" dirty="0"/>
          </a:p>
        </p:txBody>
      </p:sp>
    </p:spTree>
    <p:extLst>
      <p:ext uri="{BB962C8B-B14F-4D97-AF65-F5344CB8AC3E}">
        <p14:creationId xmlns:p14="http://schemas.microsoft.com/office/powerpoint/2010/main" val="37366874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lgn="l"/>
            <a:fld id="{F615DDFD-030C-4D5A-B33E-3A7E7538D2BE}" type="slidenum">
              <a:rPr lang="de-CH" smtClean="0"/>
              <a:pPr algn="l"/>
              <a:t>1</a:t>
            </a:fld>
            <a:endParaRPr lang="de-CH" dirty="0"/>
          </a:p>
        </p:txBody>
      </p:sp>
    </p:spTree>
    <p:extLst>
      <p:ext uri="{BB962C8B-B14F-4D97-AF65-F5344CB8AC3E}">
        <p14:creationId xmlns:p14="http://schemas.microsoft.com/office/powerpoint/2010/main" val="33600043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0</a:t>
            </a:fld>
            <a:endParaRPr lang="de-CH" dirty="0"/>
          </a:p>
        </p:txBody>
      </p:sp>
    </p:spTree>
    <p:extLst>
      <p:ext uri="{BB962C8B-B14F-4D97-AF65-F5344CB8AC3E}">
        <p14:creationId xmlns:p14="http://schemas.microsoft.com/office/powerpoint/2010/main" val="2800289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F615DDFD-030C-4D5A-B33E-3A7E7538D2BE}" type="slidenum">
              <a:rPr kumimoji="0" lang="de-CH" sz="1200" b="0" i="0" u="none" strike="noStrike" kern="1200" cap="none" spc="0" normalizeH="0" baseline="0" smtClean="0">
                <a:ln>
                  <a:noFill/>
                </a:ln>
                <a:solidFill>
                  <a:prstClr val="black"/>
                </a:solidFill>
                <a:effectLst/>
                <a:uLnTx/>
                <a:uFillTx/>
                <a:latin typeface="Calibri"/>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de-CH"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59526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2</a:t>
            </a:fld>
            <a:endParaRPr lang="de-CH" dirty="0"/>
          </a:p>
        </p:txBody>
      </p:sp>
    </p:spTree>
    <p:extLst>
      <p:ext uri="{BB962C8B-B14F-4D97-AF65-F5344CB8AC3E}">
        <p14:creationId xmlns:p14="http://schemas.microsoft.com/office/powerpoint/2010/main" val="1068019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3</a:t>
            </a:fld>
            <a:endParaRPr lang="de-CH" dirty="0"/>
          </a:p>
        </p:txBody>
      </p:sp>
    </p:spTree>
    <p:extLst>
      <p:ext uri="{BB962C8B-B14F-4D97-AF65-F5344CB8AC3E}">
        <p14:creationId xmlns:p14="http://schemas.microsoft.com/office/powerpoint/2010/main" val="272611161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4</a:t>
            </a:fld>
            <a:endParaRPr lang="de-CH" dirty="0"/>
          </a:p>
        </p:txBody>
      </p:sp>
    </p:spTree>
    <p:extLst>
      <p:ext uri="{BB962C8B-B14F-4D97-AF65-F5344CB8AC3E}">
        <p14:creationId xmlns:p14="http://schemas.microsoft.com/office/powerpoint/2010/main" val="20899694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5</a:t>
            </a:fld>
            <a:endParaRPr lang="de-CH" dirty="0"/>
          </a:p>
        </p:txBody>
      </p:sp>
    </p:spTree>
    <p:extLst>
      <p:ext uri="{BB962C8B-B14F-4D97-AF65-F5344CB8AC3E}">
        <p14:creationId xmlns:p14="http://schemas.microsoft.com/office/powerpoint/2010/main" val="42414293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7</a:t>
            </a:fld>
            <a:endParaRPr lang="de-CH" dirty="0"/>
          </a:p>
        </p:txBody>
      </p:sp>
    </p:spTree>
    <p:extLst>
      <p:ext uri="{BB962C8B-B14F-4D97-AF65-F5344CB8AC3E}">
        <p14:creationId xmlns:p14="http://schemas.microsoft.com/office/powerpoint/2010/main" val="38750091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18</a:t>
            </a:fld>
            <a:endParaRPr lang="de-CH" dirty="0"/>
          </a:p>
        </p:txBody>
      </p:sp>
    </p:spTree>
    <p:extLst>
      <p:ext uri="{BB962C8B-B14F-4D97-AF65-F5344CB8AC3E}">
        <p14:creationId xmlns:p14="http://schemas.microsoft.com/office/powerpoint/2010/main" val="5667997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lgn="l"/>
            <a:fld id="{49C27981-12E6-E341-99D3-6937B67364B5}" type="slidenum">
              <a:rPr lang="de-CH" smtClean="0"/>
              <a:pPr algn="l"/>
              <a:t>19</a:t>
            </a:fld>
            <a:endParaRPr lang="de-CH" dirty="0"/>
          </a:p>
        </p:txBody>
      </p:sp>
    </p:spTree>
    <p:extLst>
      <p:ext uri="{BB962C8B-B14F-4D97-AF65-F5344CB8AC3E}">
        <p14:creationId xmlns:p14="http://schemas.microsoft.com/office/powerpoint/2010/main" val="26389024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0</a:t>
            </a:fld>
            <a:endParaRPr lang="de-CH" dirty="0"/>
          </a:p>
        </p:txBody>
      </p:sp>
    </p:spTree>
    <p:extLst>
      <p:ext uri="{BB962C8B-B14F-4D97-AF65-F5344CB8AC3E}">
        <p14:creationId xmlns:p14="http://schemas.microsoft.com/office/powerpoint/2010/main" val="15348438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a:t>
            </a:fld>
            <a:endParaRPr lang="de-CH" dirty="0"/>
          </a:p>
        </p:txBody>
      </p:sp>
    </p:spTree>
    <p:extLst>
      <p:ext uri="{BB962C8B-B14F-4D97-AF65-F5344CB8AC3E}">
        <p14:creationId xmlns:p14="http://schemas.microsoft.com/office/powerpoint/2010/main" val="29553545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1</a:t>
            </a:fld>
            <a:endParaRPr lang="de-CH" dirty="0"/>
          </a:p>
        </p:txBody>
      </p:sp>
    </p:spTree>
    <p:extLst>
      <p:ext uri="{BB962C8B-B14F-4D97-AF65-F5344CB8AC3E}">
        <p14:creationId xmlns:p14="http://schemas.microsoft.com/office/powerpoint/2010/main" val="30592665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2</a:t>
            </a:fld>
            <a:endParaRPr lang="de-CH" dirty="0"/>
          </a:p>
        </p:txBody>
      </p:sp>
    </p:spTree>
    <p:extLst>
      <p:ext uri="{BB962C8B-B14F-4D97-AF65-F5344CB8AC3E}">
        <p14:creationId xmlns:p14="http://schemas.microsoft.com/office/powerpoint/2010/main" val="1773775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3</a:t>
            </a:fld>
            <a:endParaRPr lang="de-CH" dirty="0"/>
          </a:p>
        </p:txBody>
      </p:sp>
    </p:spTree>
    <p:extLst>
      <p:ext uri="{BB962C8B-B14F-4D97-AF65-F5344CB8AC3E}">
        <p14:creationId xmlns:p14="http://schemas.microsoft.com/office/powerpoint/2010/main" val="23627616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4</a:t>
            </a:fld>
            <a:endParaRPr lang="de-CH" dirty="0"/>
          </a:p>
        </p:txBody>
      </p:sp>
    </p:spTree>
    <p:extLst>
      <p:ext uri="{BB962C8B-B14F-4D97-AF65-F5344CB8AC3E}">
        <p14:creationId xmlns:p14="http://schemas.microsoft.com/office/powerpoint/2010/main" val="251305495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5</a:t>
            </a:fld>
            <a:endParaRPr lang="de-CH" dirty="0"/>
          </a:p>
        </p:txBody>
      </p:sp>
    </p:spTree>
    <p:extLst>
      <p:ext uri="{BB962C8B-B14F-4D97-AF65-F5344CB8AC3E}">
        <p14:creationId xmlns:p14="http://schemas.microsoft.com/office/powerpoint/2010/main" val="420372862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lgn="l"/>
            <a:fld id="{49C27981-12E6-E341-99D3-6937B67364B5}" type="slidenum">
              <a:rPr lang="de-CH" smtClean="0"/>
              <a:pPr algn="l"/>
              <a:t>26</a:t>
            </a:fld>
            <a:endParaRPr lang="de-CH" dirty="0"/>
          </a:p>
        </p:txBody>
      </p:sp>
    </p:spTree>
    <p:extLst>
      <p:ext uri="{BB962C8B-B14F-4D97-AF65-F5344CB8AC3E}">
        <p14:creationId xmlns:p14="http://schemas.microsoft.com/office/powerpoint/2010/main" val="21347506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7</a:t>
            </a:fld>
            <a:endParaRPr lang="de-CH" dirty="0"/>
          </a:p>
        </p:txBody>
      </p:sp>
    </p:spTree>
    <p:extLst>
      <p:ext uri="{BB962C8B-B14F-4D97-AF65-F5344CB8AC3E}">
        <p14:creationId xmlns:p14="http://schemas.microsoft.com/office/powerpoint/2010/main" val="26538079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28</a:t>
            </a:fld>
            <a:endParaRPr lang="de-CH" dirty="0"/>
          </a:p>
        </p:txBody>
      </p:sp>
    </p:spTree>
    <p:extLst>
      <p:ext uri="{BB962C8B-B14F-4D97-AF65-F5344CB8AC3E}">
        <p14:creationId xmlns:p14="http://schemas.microsoft.com/office/powerpoint/2010/main" val="31725626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pPr algn="l"/>
            <a:fld id="{49C27981-12E6-E341-99D3-6937B67364B5}" type="slidenum">
              <a:rPr lang="de-CH" smtClean="0"/>
              <a:pPr algn="l"/>
              <a:t>29</a:t>
            </a:fld>
            <a:endParaRPr lang="de-CH" dirty="0"/>
          </a:p>
        </p:txBody>
      </p:sp>
    </p:spTree>
    <p:extLst>
      <p:ext uri="{BB962C8B-B14F-4D97-AF65-F5344CB8AC3E}">
        <p14:creationId xmlns:p14="http://schemas.microsoft.com/office/powerpoint/2010/main" val="275033426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30</a:t>
            </a:fld>
            <a:endParaRPr lang="de-CH" dirty="0"/>
          </a:p>
        </p:txBody>
      </p:sp>
    </p:spTree>
    <p:extLst>
      <p:ext uri="{BB962C8B-B14F-4D97-AF65-F5344CB8AC3E}">
        <p14:creationId xmlns:p14="http://schemas.microsoft.com/office/powerpoint/2010/main" val="39767076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3</a:t>
            </a:fld>
            <a:endParaRPr lang="de-CH" dirty="0"/>
          </a:p>
        </p:txBody>
      </p:sp>
    </p:spTree>
    <p:extLst>
      <p:ext uri="{BB962C8B-B14F-4D97-AF65-F5344CB8AC3E}">
        <p14:creationId xmlns:p14="http://schemas.microsoft.com/office/powerpoint/2010/main" val="58251496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31</a:t>
            </a:fld>
            <a:endParaRPr lang="de-CH" dirty="0"/>
          </a:p>
        </p:txBody>
      </p:sp>
    </p:spTree>
    <p:extLst>
      <p:ext uri="{BB962C8B-B14F-4D97-AF65-F5344CB8AC3E}">
        <p14:creationId xmlns:p14="http://schemas.microsoft.com/office/powerpoint/2010/main" val="9447465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32</a:t>
            </a:fld>
            <a:endParaRPr lang="de-CH" dirty="0"/>
          </a:p>
        </p:txBody>
      </p:sp>
    </p:spTree>
    <p:extLst>
      <p:ext uri="{BB962C8B-B14F-4D97-AF65-F5344CB8AC3E}">
        <p14:creationId xmlns:p14="http://schemas.microsoft.com/office/powerpoint/2010/main" val="41172049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4</a:t>
            </a:fld>
            <a:endParaRPr lang="de-CH" dirty="0"/>
          </a:p>
        </p:txBody>
      </p:sp>
    </p:spTree>
    <p:extLst>
      <p:ext uri="{BB962C8B-B14F-4D97-AF65-F5344CB8AC3E}">
        <p14:creationId xmlns:p14="http://schemas.microsoft.com/office/powerpoint/2010/main" val="524799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5</a:t>
            </a:fld>
            <a:endParaRPr lang="de-CH" dirty="0"/>
          </a:p>
        </p:txBody>
      </p:sp>
    </p:spTree>
    <p:extLst>
      <p:ext uri="{BB962C8B-B14F-4D97-AF65-F5344CB8AC3E}">
        <p14:creationId xmlns:p14="http://schemas.microsoft.com/office/powerpoint/2010/main" val="2219759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CH" dirty="0"/>
          </a:p>
        </p:txBody>
      </p:sp>
      <p:sp>
        <p:nvSpPr>
          <p:cNvPr id="4" name="Slide Number Placeholder 3"/>
          <p:cNvSpPr>
            <a:spLocks noGrp="1"/>
          </p:cNvSpPr>
          <p:nvPr>
            <p:ph type="sldNum" sz="quarter" idx="5"/>
          </p:nvPr>
        </p:nvSpPr>
        <p:spPr/>
        <p:txBody>
          <a:bodyPr/>
          <a:lstStyle/>
          <a:p>
            <a:fld id="{49C27981-12E6-E341-99D3-6937B67364B5}" type="slidenum">
              <a:rPr lang="de-CH" smtClean="0"/>
              <a:pPr/>
              <a:t>6</a:t>
            </a:fld>
            <a:endParaRPr lang="de-CH" dirty="0"/>
          </a:p>
        </p:txBody>
      </p:sp>
    </p:spTree>
    <p:extLst>
      <p:ext uri="{BB962C8B-B14F-4D97-AF65-F5344CB8AC3E}">
        <p14:creationId xmlns:p14="http://schemas.microsoft.com/office/powerpoint/2010/main" val="5991752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gn="l">
              <a:buFont typeface="Arial" panose="020B0604020202020204" pitchFamily="34" charset="0"/>
              <a:buChar char="•"/>
            </a:pPr>
            <a:r>
              <a:rPr lang="de-CH" b="0" i="0" u="none" baseline="0"/>
              <a:t>If needed, print out (or keep on laptop/tablet) so that the schedule is always handy during the workshop</a:t>
            </a:r>
          </a:p>
          <a:p>
            <a:pPr marL="171450" indent="-171450" algn="l">
              <a:buFont typeface="Arial" panose="020B0604020202020204" pitchFamily="34" charset="0"/>
              <a:buChar char="•"/>
            </a:pPr>
            <a:endParaRPr lang="de-CH" dirty="0"/>
          </a:p>
        </p:txBody>
      </p:sp>
      <p:sp>
        <p:nvSpPr>
          <p:cNvPr id="4" name="Foliennummernplatzhalter 3"/>
          <p:cNvSpPr>
            <a:spLocks noGrp="1"/>
          </p:cNvSpPr>
          <p:nvPr>
            <p:ph type="sldNum" sz="quarter" idx="5"/>
          </p:nvPr>
        </p:nvSpPr>
        <p:spPr/>
        <p:txBody>
          <a:bodyPr/>
          <a:lstStyle/>
          <a:p>
            <a:pPr algn="l"/>
            <a:fld id="{49C27981-12E6-E341-99D3-6937B67364B5}" type="slidenum">
              <a:rPr lang="de-CH" smtClean="0"/>
              <a:pPr algn="l"/>
              <a:t>7</a:t>
            </a:fld>
            <a:endParaRPr lang="de-CH" dirty="0"/>
          </a:p>
        </p:txBody>
      </p:sp>
    </p:spTree>
    <p:extLst>
      <p:ext uri="{BB962C8B-B14F-4D97-AF65-F5344CB8AC3E}">
        <p14:creationId xmlns:p14="http://schemas.microsoft.com/office/powerpoint/2010/main" val="27506538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lgn="l">
              <a:buFont typeface="Arial" panose="020B0604020202020204" pitchFamily="34" charset="0"/>
              <a:buChar char="•"/>
            </a:pPr>
            <a:r>
              <a:rPr lang="de-CH" b="0" i="0" u="none" baseline="0"/>
              <a:t>If needed, print out (or keep on laptop/tablet) so that the schedule is always handy during the workshop</a:t>
            </a:r>
            <a:endParaRPr lang="de-CH" b="0" i="0" u="none" baseline="0" dirty="0"/>
          </a:p>
        </p:txBody>
      </p:sp>
      <p:sp>
        <p:nvSpPr>
          <p:cNvPr id="4" name="Foliennummernplatzhalter 3"/>
          <p:cNvSpPr>
            <a:spLocks noGrp="1"/>
          </p:cNvSpPr>
          <p:nvPr>
            <p:ph type="sldNum" sz="quarter" idx="5"/>
          </p:nvPr>
        </p:nvSpPr>
        <p:spPr/>
        <p:txBody>
          <a:bodyPr/>
          <a:lstStyle/>
          <a:p>
            <a:pPr algn="l"/>
            <a:fld id="{49C27981-12E6-E341-99D3-6937B67364B5}" type="slidenum">
              <a:rPr lang="de-CH" smtClean="0"/>
              <a:pPr algn="l"/>
              <a:t>8</a:t>
            </a:fld>
            <a:endParaRPr lang="de-CH" dirty="0"/>
          </a:p>
        </p:txBody>
      </p:sp>
    </p:spTree>
    <p:extLst>
      <p:ext uri="{BB962C8B-B14F-4D97-AF65-F5344CB8AC3E}">
        <p14:creationId xmlns:p14="http://schemas.microsoft.com/office/powerpoint/2010/main" val="28073284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dirty="0"/>
          </a:p>
        </p:txBody>
      </p:sp>
      <p:sp>
        <p:nvSpPr>
          <p:cNvPr id="4" name="Foliennummernplatzhalter 3"/>
          <p:cNvSpPr>
            <a:spLocks noGrp="1"/>
          </p:cNvSpPr>
          <p:nvPr>
            <p:ph type="sldNum" sz="quarter" idx="10"/>
          </p:nvPr>
        </p:nvSpPr>
        <p:spPr/>
        <p:txBody>
          <a:bodyPr/>
          <a:lstStyle/>
          <a:p>
            <a:pPr algn="l"/>
            <a:fld id="{F615DDFD-030C-4D5A-B33E-3A7E7538D2BE}" type="slidenum">
              <a:rPr lang="de-CH" smtClean="0"/>
              <a:pPr algn="l"/>
              <a:t>9</a:t>
            </a:fld>
            <a:endParaRPr lang="de-CH" dirty="0"/>
          </a:p>
        </p:txBody>
      </p:sp>
    </p:spTree>
    <p:extLst>
      <p:ext uri="{BB962C8B-B14F-4D97-AF65-F5344CB8AC3E}">
        <p14:creationId xmlns:p14="http://schemas.microsoft.com/office/powerpoint/2010/main" val="38727149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2.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2.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2.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54F1400-795F-A074-DA62-57F93CA534FC}"/>
              </a:ext>
            </a:extLst>
          </p:cNvPr>
          <p:cNvGraphicFramePr>
            <a:graphicFrameLocks noChangeAspect="1"/>
          </p:cNvGraphicFramePr>
          <p:nvPr userDrawn="1">
            <p:custDataLst>
              <p:tags r:id="rId1"/>
            </p:custDataLst>
            <p:extLst>
              <p:ext uri="{D42A27DB-BD31-4B8C-83A1-F6EECF244321}">
                <p14:modId xmlns:p14="http://schemas.microsoft.com/office/powerpoint/2010/main" val="4078299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F54F1400-795F-A074-DA62-57F93CA534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chemeClr val="accent1"/>
          </a:solidFill>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Bildplatzhalter 8">
            <a:extLst>
              <a:ext uri="{FF2B5EF4-FFF2-40B4-BE49-F238E27FC236}">
                <a16:creationId xmlns:a16="http://schemas.microsoft.com/office/drawing/2014/main" id="{C3C296D1-2CD0-479F-A866-6EC741D2293B}"/>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4" name="Textplatzhalter 3">
            <a:extLst>
              <a:ext uri="{FF2B5EF4-FFF2-40B4-BE49-F238E27FC236}">
                <a16:creationId xmlns:a16="http://schemas.microsoft.com/office/drawing/2014/main" id="{EE41BE31-9613-4103-99FF-7DCFF643B329}"/>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6" name="Textplatzhalter 5">
            <a:extLst>
              <a:ext uri="{FF2B5EF4-FFF2-40B4-BE49-F238E27FC236}">
                <a16:creationId xmlns:a16="http://schemas.microsoft.com/office/drawing/2014/main" id="{EDEB298C-798E-4D73-9DD6-F896C06530C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4293381049"/>
      </p:ext>
    </p:extLst>
  </p:cSld>
  <p:clrMapOvr>
    <a:masterClrMapping/>
  </p:clrMapOvr>
  <p:extLst>
    <p:ext uri="{DCECCB84-F9BA-43D5-87BE-67443E8EF086}">
      <p15:sldGuideLst xmlns:p15="http://schemas.microsoft.com/office/powerpoint/2012/main">
        <p15:guide id="2" pos="3840">
          <p15:clr>
            <a:srgbClr val="FBAE40"/>
          </p15:clr>
        </p15:guide>
        <p15:guide id="3" orient="horz" pos="640">
          <p15:clr>
            <a:srgbClr val="FBAE40"/>
          </p15:clr>
        </p15:guide>
        <p15:guide id="4" orient="horz" pos="3952">
          <p15:clr>
            <a:srgbClr val="FBAE40"/>
          </p15:clr>
        </p15:guide>
        <p15:guide id="5" pos="6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0FE4F96-D083-F22D-0FDA-77047DF69419}"/>
              </a:ext>
            </a:extLst>
          </p:cNvPr>
          <p:cNvGraphicFramePr>
            <a:graphicFrameLocks noChangeAspect="1"/>
          </p:cNvGraphicFramePr>
          <p:nvPr userDrawn="1">
            <p:custDataLst>
              <p:tags r:id="rId1"/>
            </p:custDataLst>
            <p:extLst>
              <p:ext uri="{D42A27DB-BD31-4B8C-83A1-F6EECF244321}">
                <p14:modId xmlns:p14="http://schemas.microsoft.com/office/powerpoint/2010/main" val="1580467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90FE4F96-D083-F22D-0FDA-77047DF694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5CD97575-AF65-4E33-928A-687B4D4EE333}"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1412874"/>
            <a:ext cx="10728000" cy="4860000"/>
          </a:xfrm>
        </p:spPr>
        <p:txBody>
          <a:bodyPr tIns="162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9438521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 full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EC49A61-509E-32FC-B506-6DE2EAF0DC90}"/>
              </a:ext>
            </a:extLst>
          </p:cNvPr>
          <p:cNvGraphicFramePr>
            <a:graphicFrameLocks noChangeAspect="1"/>
          </p:cNvGraphicFramePr>
          <p:nvPr userDrawn="1">
            <p:custDataLst>
              <p:tags r:id="rId1"/>
            </p:custDataLst>
            <p:extLst>
              <p:ext uri="{D42A27DB-BD31-4B8C-83A1-F6EECF244321}">
                <p14:modId xmlns:p14="http://schemas.microsoft.com/office/powerpoint/2010/main" val="376651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CEC49A61-509E-32FC-B506-6DE2EAF0D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715FE5D8-50C0-49DD-9FB1-E4960EC61653}"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260350"/>
            <a:ext cx="10728000" cy="6012524"/>
          </a:xfrm>
        </p:spPr>
        <p:txBody>
          <a:bodyPr tIns="216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28420483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zwei Spalte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14F9B4A-5E71-2436-C531-60297CE2AF8D}"/>
              </a:ext>
            </a:extLst>
          </p:cNvPr>
          <p:cNvGraphicFramePr>
            <a:graphicFrameLocks noChangeAspect="1"/>
          </p:cNvGraphicFramePr>
          <p:nvPr userDrawn="1">
            <p:custDataLst>
              <p:tags r:id="rId1"/>
            </p:custDataLst>
            <p:extLst>
              <p:ext uri="{D42A27DB-BD31-4B8C-83A1-F6EECF244321}">
                <p14:modId xmlns:p14="http://schemas.microsoft.com/office/powerpoint/2010/main" val="37436517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A14F9B4A-5E71-2436-C531-60297CE2AF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6204163" y="1412875"/>
            <a:ext cx="5256000" cy="4860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A438592C-6505-45D6-A663-03F06FFC0386}"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040000" cy="4860000"/>
          </a:xfrm>
        </p:spPr>
        <p:txBody>
          <a:bodyPr tIns="162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3996394784"/>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2 Bil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6902D4C-3B7E-C061-F232-B93DFD8CDC0E}"/>
              </a:ext>
            </a:extLst>
          </p:cNvPr>
          <p:cNvGraphicFramePr>
            <a:graphicFrameLocks noChangeAspect="1"/>
          </p:cNvGraphicFramePr>
          <p:nvPr userDrawn="1">
            <p:custDataLst>
              <p:tags r:id="rId1"/>
            </p:custDataLst>
            <p:extLst>
              <p:ext uri="{D42A27DB-BD31-4B8C-83A1-F6EECF244321}">
                <p14:modId xmlns:p14="http://schemas.microsoft.com/office/powerpoint/2010/main" val="218298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16902D4C-3B7E-C061-F232-B93DFD8CDC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5121800"/>
            <a:ext cx="5255999" cy="1152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8AFBC59D-5C80-4549-982E-DED6000A9B3E}"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256000" cy="3420000"/>
          </a:xfrm>
        </p:spPr>
        <p:txBody>
          <a:bodyPr tIns="900000"/>
          <a:lstStyle>
            <a:lvl1pPr marL="0" indent="0" algn="ctr" rtl="0">
              <a:buNone/>
              <a:defRPr/>
            </a:lvl1pPr>
          </a:lstStyle>
          <a:p>
            <a:r>
              <a:rPr lang="de-CH" noProof="0"/>
              <a:t>Bild durch Klicken auf Symbol hinzufügen</a:t>
            </a:r>
            <a:endParaRPr lang="de-CH" noProof="0" dirty="0"/>
          </a:p>
        </p:txBody>
      </p:sp>
      <p:sp>
        <p:nvSpPr>
          <p:cNvPr id="9" name="Bildplatzhalter 10">
            <a:extLst>
              <a:ext uri="{FF2B5EF4-FFF2-40B4-BE49-F238E27FC236}">
                <a16:creationId xmlns:a16="http://schemas.microsoft.com/office/drawing/2014/main" id="{1AAB6914-2518-430D-BF4C-14EA51B61410}"/>
              </a:ext>
            </a:extLst>
          </p:cNvPr>
          <p:cNvSpPr>
            <a:spLocks noGrp="1"/>
          </p:cNvSpPr>
          <p:nvPr>
            <p:ph type="pic" sz="quarter" idx="14" hasCustomPrompt="1"/>
          </p:nvPr>
        </p:nvSpPr>
        <p:spPr>
          <a:xfrm>
            <a:off x="6204162" y="1412875"/>
            <a:ext cx="5256000" cy="3420000"/>
          </a:xfrm>
        </p:spPr>
        <p:txBody>
          <a:bodyPr tIns="900000"/>
          <a:lstStyle>
            <a:lvl1pPr marL="0" indent="0" algn="ctr" rtl="0">
              <a:buNone/>
              <a:defRPr/>
            </a:lvl1pPr>
          </a:lstStyle>
          <a:p>
            <a:r>
              <a:rPr lang="de-CH" noProof="0"/>
              <a:t>Bild durch Klicken auf Symbol hinzufügen</a:t>
            </a:r>
            <a:endParaRPr lang="de-CH" noProof="0" dirty="0"/>
          </a:p>
        </p:txBody>
      </p:sp>
      <p:sp>
        <p:nvSpPr>
          <p:cNvPr id="12" name="Inhaltsplatzhalter 2">
            <a:extLst>
              <a:ext uri="{FF2B5EF4-FFF2-40B4-BE49-F238E27FC236}">
                <a16:creationId xmlns:a16="http://schemas.microsoft.com/office/drawing/2014/main" id="{5092EEFB-079B-4C38-A665-E52B9837601B}"/>
              </a:ext>
            </a:extLst>
          </p:cNvPr>
          <p:cNvSpPr>
            <a:spLocks noGrp="1"/>
          </p:cNvSpPr>
          <p:nvPr>
            <p:ph idx="15" hasCustomPrompt="1"/>
          </p:nvPr>
        </p:nvSpPr>
        <p:spPr>
          <a:xfrm>
            <a:off x="6204162" y="5121800"/>
            <a:ext cx="5256001" cy="1152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Tree>
    <p:extLst>
      <p:ext uri="{BB962C8B-B14F-4D97-AF65-F5344CB8AC3E}">
        <p14:creationId xmlns:p14="http://schemas.microsoft.com/office/powerpoint/2010/main" val="1085750778"/>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3 Bil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F89BBAB-A540-86A1-8FF5-EDD8BE453BEF}"/>
              </a:ext>
            </a:extLst>
          </p:cNvPr>
          <p:cNvGraphicFramePr>
            <a:graphicFrameLocks noChangeAspect="1"/>
          </p:cNvGraphicFramePr>
          <p:nvPr userDrawn="1">
            <p:custDataLst>
              <p:tags r:id="rId1"/>
            </p:custDataLst>
            <p:extLst>
              <p:ext uri="{D42A27DB-BD31-4B8C-83A1-F6EECF244321}">
                <p14:modId xmlns:p14="http://schemas.microsoft.com/office/powerpoint/2010/main" val="3663635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F89BBAB-A540-86A1-8FF5-EDD8BE453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4166439"/>
            <a:ext cx="10728327" cy="2124401"/>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0E852C68-25A6-40B3-9332-B1503862284C}"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3420000" cy="2484000"/>
          </a:xfrm>
        </p:spPr>
        <p:txBody>
          <a:bodyPr tIns="360000"/>
          <a:lstStyle>
            <a:lvl1pPr marL="0" indent="0" algn="ctr" rtl="0">
              <a:buNone/>
              <a:defRPr/>
            </a:lvl1pPr>
          </a:lstStyle>
          <a:p>
            <a:r>
              <a:rPr lang="de-CH" noProof="0"/>
              <a:t>Bild durch Klicken auf Symbol hinzufügen</a:t>
            </a:r>
            <a:endParaRPr lang="de-CH" noProof="0" dirty="0"/>
          </a:p>
        </p:txBody>
      </p:sp>
      <p:sp>
        <p:nvSpPr>
          <p:cNvPr id="13" name="Bildplatzhalter 10">
            <a:extLst>
              <a:ext uri="{FF2B5EF4-FFF2-40B4-BE49-F238E27FC236}">
                <a16:creationId xmlns:a16="http://schemas.microsoft.com/office/drawing/2014/main" id="{36793346-BF6B-42A8-ADE0-3AA3DC3B239A}"/>
              </a:ext>
            </a:extLst>
          </p:cNvPr>
          <p:cNvSpPr>
            <a:spLocks noGrp="1"/>
          </p:cNvSpPr>
          <p:nvPr>
            <p:ph type="pic" sz="quarter" idx="16" hasCustomPrompt="1"/>
          </p:nvPr>
        </p:nvSpPr>
        <p:spPr>
          <a:xfrm>
            <a:off x="8040162" y="1414800"/>
            <a:ext cx="3420000" cy="2484000"/>
          </a:xfrm>
        </p:spPr>
        <p:txBody>
          <a:bodyPr tIns="360000"/>
          <a:lstStyle>
            <a:lvl1pPr marL="0" indent="0" algn="ctr" rtl="0">
              <a:buNone/>
              <a:defRPr/>
            </a:lvl1pPr>
          </a:lstStyle>
          <a:p>
            <a:r>
              <a:rPr lang="de-CH" noProof="0"/>
              <a:t>Bild durch Klicken auf Symbol hinzufügen</a:t>
            </a:r>
            <a:endParaRPr lang="de-CH" noProof="0" dirty="0"/>
          </a:p>
        </p:txBody>
      </p:sp>
      <p:sp>
        <p:nvSpPr>
          <p:cNvPr id="14" name="Bildplatzhalter 10">
            <a:extLst>
              <a:ext uri="{FF2B5EF4-FFF2-40B4-BE49-F238E27FC236}">
                <a16:creationId xmlns:a16="http://schemas.microsoft.com/office/drawing/2014/main" id="{FE637F68-618E-43EB-B240-4BFA26852FC5}"/>
              </a:ext>
            </a:extLst>
          </p:cNvPr>
          <p:cNvSpPr>
            <a:spLocks noGrp="1"/>
          </p:cNvSpPr>
          <p:nvPr>
            <p:ph type="pic" sz="quarter" idx="17" hasCustomPrompt="1"/>
          </p:nvPr>
        </p:nvSpPr>
        <p:spPr>
          <a:xfrm>
            <a:off x="4385999" y="1414800"/>
            <a:ext cx="3420000" cy="2484000"/>
          </a:xfrm>
        </p:spPr>
        <p:txBody>
          <a:bodyPr tIns="36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2252988954"/>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Tabel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43F0FDB3-92ED-A659-5296-69686EC3DDE3}"/>
              </a:ext>
            </a:extLst>
          </p:cNvPr>
          <p:cNvGraphicFramePr>
            <a:graphicFrameLocks noChangeAspect="1"/>
          </p:cNvGraphicFramePr>
          <p:nvPr userDrawn="1">
            <p:custDataLst>
              <p:tags r:id="rId1"/>
            </p:custDataLst>
            <p:extLst>
              <p:ext uri="{D42A27DB-BD31-4B8C-83A1-F6EECF244321}">
                <p14:modId xmlns:p14="http://schemas.microsoft.com/office/powerpoint/2010/main" val="1946995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43F0FDB3-92ED-A659-5296-69686EC3DD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
          </a:xfrm>
        </p:spPr>
        <p:txBody>
          <a:bodyPr/>
          <a:lstStyle>
            <a:lvl1pPr marL="0" indent="0" rtl="0">
              <a:buNone/>
              <a:defRPr b="1"/>
            </a:lvl1pPr>
            <a:lvl2pPr marL="266700" indent="0">
              <a:buNone/>
              <a:defRPr b="1"/>
            </a:lvl2pPr>
            <a:lvl3pPr marL="538163" indent="0">
              <a:buNone/>
              <a:defRPr b="1"/>
            </a:lvl3pPr>
            <a:lvl4pPr marL="804862" indent="0">
              <a:buNone/>
              <a:defRPr b="1"/>
            </a:lvl4pPr>
            <a:lvl5pPr marL="1076325" indent="0">
              <a:buNone/>
              <a:defRPr b="1"/>
            </a:lvl5pPr>
          </a:lstStyle>
          <a:p>
            <a:pPr lvl="0"/>
            <a:r>
              <a:rPr lang="de-CH" noProof="0"/>
              <a:t>Mastertext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92AD4C07-69A5-499D-ACC7-74E697B853C3}"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9" name="Tabellenplatzhalter 8">
            <a:extLst>
              <a:ext uri="{FF2B5EF4-FFF2-40B4-BE49-F238E27FC236}">
                <a16:creationId xmlns:a16="http://schemas.microsoft.com/office/drawing/2014/main" id="{A1D947E6-CC00-458E-BDE1-B0877E30333C}"/>
              </a:ext>
            </a:extLst>
          </p:cNvPr>
          <p:cNvSpPr>
            <a:spLocks noGrp="1"/>
          </p:cNvSpPr>
          <p:nvPr>
            <p:ph type="tbl" sz="quarter" idx="13" hasCustomPrompt="1"/>
          </p:nvPr>
        </p:nvSpPr>
        <p:spPr>
          <a:xfrm>
            <a:off x="731838" y="2061398"/>
            <a:ext cx="10728325" cy="4212401"/>
          </a:xfrm>
        </p:spPr>
        <p:txBody>
          <a:bodyPr tIns="1260000"/>
          <a:lstStyle>
            <a:lvl1pPr marL="0" indent="0" algn="ctr" rtl="0">
              <a:spcBef>
                <a:spcPts val="0"/>
              </a:spcBef>
              <a:buNone/>
              <a:defRPr sz="1400"/>
            </a:lvl1pPr>
          </a:lstStyle>
          <a:p>
            <a:r>
              <a:rPr lang="de-CH" noProof="0"/>
              <a:t>Tabelle durch Klicken auf Symbol hinzufügen</a:t>
            </a:r>
            <a:endParaRPr lang="de-CH" noProof="0" dirty="0"/>
          </a:p>
        </p:txBody>
      </p:sp>
    </p:spTree>
    <p:extLst>
      <p:ext uri="{BB962C8B-B14F-4D97-AF65-F5344CB8AC3E}">
        <p14:creationId xmlns:p14="http://schemas.microsoft.com/office/powerpoint/2010/main" val="2928661315"/>
      </p:ext>
    </p:extLst>
  </p:cSld>
  <p:clrMapOvr>
    <a:masterClrMapping/>
  </p:clrMapOvr>
  <p:extLst>
    <p:ext uri="{DCECCB84-F9BA-43D5-87BE-67443E8EF086}">
      <p15:sldGuideLst xmlns:p15="http://schemas.microsoft.com/office/powerpoint/2012/main">
        <p15:guide id="1" orient="horz" pos="3952"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foli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27B25-39A7-5858-EADB-9AAB59EBF5E8}"/>
              </a:ext>
            </a:extLst>
          </p:cNvPr>
          <p:cNvGraphicFramePr>
            <a:graphicFrameLocks noChangeAspect="1"/>
          </p:cNvGraphicFramePr>
          <p:nvPr userDrawn="1">
            <p:custDataLst>
              <p:tags r:id="rId1"/>
            </p:custDataLst>
            <p:extLst>
              <p:ext uri="{D42A27DB-BD31-4B8C-83A1-F6EECF244321}">
                <p14:modId xmlns:p14="http://schemas.microsoft.com/office/powerpoint/2010/main" val="2604662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A9527B25-39A7-5858-EADB-9AAB59EBF5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2">
            <a:extLst>
              <a:ext uri="{FF2B5EF4-FFF2-40B4-BE49-F238E27FC236}">
                <a16:creationId xmlns:a16="http://schemas.microsoft.com/office/drawing/2014/main" id="{394B20FF-3667-40DF-92A1-C6CF3BBCA26D}"/>
              </a:ext>
            </a:extLst>
          </p:cNvPr>
          <p:cNvSpPr>
            <a:spLocks noGrp="1"/>
          </p:cNvSpPr>
          <p:nvPr>
            <p:ph idx="1" hasCustomPrompt="1"/>
          </p:nvPr>
        </p:nvSpPr>
        <p:spPr>
          <a:xfrm>
            <a:off x="731837" y="2135492"/>
            <a:ext cx="10728325" cy="3960000"/>
          </a:xfrm>
        </p:spPr>
        <p:txBody>
          <a:bodyPr/>
          <a:lstStyle>
            <a:lvl1pPr marL="0" indent="0" rtl="0">
              <a:spcBef>
                <a:spcPts val="0"/>
              </a:spcBef>
              <a:buNone/>
              <a:defRPr>
                <a:solidFill>
                  <a:schemeClr val="tx1"/>
                </a:solidFill>
              </a:defRPr>
            </a:lvl1pPr>
            <a:lvl2pPr marL="266700" indent="0">
              <a:buNone/>
              <a:defRPr>
                <a:solidFill>
                  <a:schemeClr val="bg1"/>
                </a:solidFill>
              </a:defRPr>
            </a:lvl2pPr>
            <a:lvl3pPr marL="540000" indent="0">
              <a:buNone/>
              <a:defRPr>
                <a:solidFill>
                  <a:schemeClr val="bg1"/>
                </a:solidFill>
              </a:defRPr>
            </a:lvl3pPr>
            <a:lvl4pPr marL="808537" indent="0">
              <a:buNone/>
              <a:defRPr>
                <a:solidFill>
                  <a:schemeClr val="bg1"/>
                </a:solidFill>
              </a:defRPr>
            </a:lvl4pPr>
            <a:lvl5pPr marL="1080000" indent="0">
              <a:buNone/>
              <a:defRPr>
                <a:solidFill>
                  <a:schemeClr val="bg1"/>
                </a:solidFill>
              </a:defRPr>
            </a:lvl5pPr>
          </a:lstStyle>
          <a:p>
            <a:pPr lvl="0"/>
            <a:r>
              <a:rPr lang="de-CH" noProof="0"/>
              <a:t>Mastertextformat bearbeiten</a:t>
            </a:r>
            <a:endParaRPr lang="de-CH" noProof="0" dirty="0"/>
          </a:p>
        </p:txBody>
      </p:sp>
      <p:sp>
        <p:nvSpPr>
          <p:cNvPr id="21" name="Bildplatzhalter 8">
            <a:extLst>
              <a:ext uri="{FF2B5EF4-FFF2-40B4-BE49-F238E27FC236}">
                <a16:creationId xmlns:a16="http://schemas.microsoft.com/office/drawing/2014/main" id="{794484F1-3B7F-46CE-AD0B-2310A557A990}"/>
              </a:ext>
            </a:extLst>
          </p:cNvPr>
          <p:cNvSpPr>
            <a:spLocks noGrp="1"/>
          </p:cNvSpPr>
          <p:nvPr>
            <p:ph type="pic" sz="quarter" idx="12" hasCustomPrompt="1"/>
          </p:nvPr>
        </p:nvSpPr>
        <p:spPr>
          <a:xfrm>
            <a:off x="10200163" y="6489088"/>
            <a:ext cx="1260000" cy="180000"/>
          </a:xfrm>
        </p:spPr>
        <p:txBody>
          <a:bodyPr/>
          <a:lstStyle>
            <a:lvl1pPr marL="0" indent="0" algn="l" rtl="0">
              <a:buNone/>
              <a:defRPr sz="700">
                <a:solidFill>
                  <a:schemeClr val="tx1"/>
                </a:solidFill>
              </a:defRPr>
            </a:lvl1pPr>
          </a:lstStyle>
          <a:p>
            <a:r>
              <a:rPr lang="de-CH" noProof="0"/>
              <a:t>Bild durch Klicken auf Symbol hinzufügen</a:t>
            </a:r>
            <a:endParaRPr lang="de-CH" noProof="0" dirty="0"/>
          </a:p>
        </p:txBody>
      </p:sp>
      <p:pic>
        <p:nvPicPr>
          <p:cNvPr id="22" name="Grafik 21">
            <a:extLst>
              <a:ext uri="{FF2B5EF4-FFF2-40B4-BE49-F238E27FC236}">
                <a16:creationId xmlns:a16="http://schemas.microsoft.com/office/drawing/2014/main" id="{F900572E-A73E-42BE-96FA-38ADC4E79FD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Tree>
    <p:extLst>
      <p:ext uri="{BB962C8B-B14F-4D97-AF65-F5344CB8AC3E}">
        <p14:creationId xmlns:p14="http://schemas.microsoft.com/office/powerpoint/2010/main" val="1752670339"/>
      </p:ext>
    </p:extLst>
  </p:cSld>
  <p:clrMapOvr>
    <a:masterClrMapping/>
  </p:clrMapOvr>
  <p:extLst>
    <p:ext uri="{DCECCB84-F9BA-43D5-87BE-67443E8EF086}">
      <p15:sldGuideLst xmlns:p15="http://schemas.microsoft.com/office/powerpoint/2012/main">
        <p15:guide id="1" pos="6698">
          <p15:clr>
            <a:srgbClr val="FBAE40"/>
          </p15:clr>
        </p15:guide>
        <p15:guide id="3" orient="horz" pos="640">
          <p15:clr>
            <a:srgbClr val="FBAE40"/>
          </p15:clr>
        </p15:guide>
        <p15:guide id="4" orient="horz" pos="395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5D4132F-BCC7-1A1C-1204-1C854A1D631B}"/>
              </a:ext>
            </a:extLst>
          </p:cNvPr>
          <p:cNvGraphicFramePr>
            <a:graphicFrameLocks noChangeAspect="1"/>
          </p:cNvGraphicFramePr>
          <p:nvPr userDrawn="1">
            <p:custDataLst>
              <p:tags r:id="rId1"/>
            </p:custDataLst>
            <p:extLst>
              <p:ext uri="{D42A27DB-BD31-4B8C-83A1-F6EECF244321}">
                <p14:modId xmlns:p14="http://schemas.microsoft.com/office/powerpoint/2010/main" val="3201921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25D4132F-BCC7-1A1C-1204-1C854A1D63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p:txBody>
          <a:bodyPr vert="horz"/>
          <a:lstStyle>
            <a:lvl1pPr rtl="0">
              <a:defRPr/>
            </a:lvl1pPr>
          </a:lstStyle>
          <a:p>
            <a:r>
              <a:rPr lang="de-CH"/>
              <a:t>Titelmasterformat durch Klicken bearbeiten</a:t>
            </a:r>
            <a:endParaRPr lang="de-CH" dirty="0"/>
          </a:p>
        </p:txBody>
      </p:sp>
      <p:sp>
        <p:nvSpPr>
          <p:cNvPr id="3" name="Datumsplatzhalter 2"/>
          <p:cNvSpPr>
            <a:spLocks noGrp="1"/>
          </p:cNvSpPr>
          <p:nvPr>
            <p:ph type="dt" sz="half" idx="10"/>
          </p:nvPr>
        </p:nvSpPr>
        <p:spPr/>
        <p:txBody>
          <a:bodyPr/>
          <a:lstStyle>
            <a:lvl1pPr rtl="0">
              <a:defRPr/>
            </a:lvl1pPr>
          </a:lstStyle>
          <a:p>
            <a:fld id="{47BFB9D4-0117-43D2-B2BE-07DD9DE1C56C}" type="datetime1">
              <a:rPr lang="de-CH" smtClean="0"/>
              <a:t>29.02.2024</a:t>
            </a:fld>
            <a:endParaRPr lang="de-CH" dirty="0"/>
          </a:p>
        </p:txBody>
      </p:sp>
      <p:sp>
        <p:nvSpPr>
          <p:cNvPr id="4" name="Fußzeilenplatzhalter 3"/>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5" name="Foliennummernplatzhalter 4"/>
          <p:cNvSpPr>
            <a:spLocks noGrp="1"/>
          </p:cNvSpPr>
          <p:nvPr>
            <p:ph type="sldNum" sz="quarter" idx="12"/>
          </p:nvPr>
        </p:nvSpPr>
        <p:spPr/>
        <p:txBody>
          <a:bodyPr/>
          <a:lstStyle>
            <a:lvl1pPr rtl="0">
              <a:defRPr/>
            </a:lvl1pPr>
          </a:lstStyle>
          <a:p>
            <a:fld id="{2D71180F-1139-45C3-90C5-3A85A95B0D4D}" type="slidenum">
              <a:rPr lang="de-CH" smtClean="0"/>
              <a:pPr/>
              <a:t>‹#›</a:t>
            </a:fld>
            <a:endParaRPr lang="de-CH" dirty="0"/>
          </a:p>
        </p:txBody>
      </p:sp>
    </p:spTree>
    <p:extLst>
      <p:ext uri="{BB962C8B-B14F-4D97-AF65-F5344CB8AC3E}">
        <p14:creationId xmlns:p14="http://schemas.microsoft.com/office/powerpoint/2010/main" val="6913352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4856E5D-F9B6-EF77-BCBB-C20C08EA7F74}"/>
              </a:ext>
            </a:extLst>
          </p:cNvPr>
          <p:cNvGraphicFramePr>
            <a:graphicFrameLocks noChangeAspect="1"/>
          </p:cNvGraphicFramePr>
          <p:nvPr userDrawn="1">
            <p:custDataLst>
              <p:tags r:id="rId1"/>
            </p:custDataLst>
            <p:extLst>
              <p:ext uri="{D42A27DB-BD31-4B8C-83A1-F6EECF244321}">
                <p14:modId xmlns:p14="http://schemas.microsoft.com/office/powerpoint/2010/main" val="549705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C4856E5D-F9B6-EF77-BCBB-C20C08EA7F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ctrTitle" hasCustomPrompt="1"/>
          </p:nvPr>
        </p:nvSpPr>
        <p:spPr>
          <a:xfrm>
            <a:off x="1524000" y="1122363"/>
            <a:ext cx="9144000" cy="2387600"/>
          </a:xfrm>
        </p:spPr>
        <p:txBody>
          <a:bodyPr vert="horz" anchor="b"/>
          <a:lstStyle>
            <a:lvl1pPr algn="ctr" rtl="0">
              <a:defRPr sz="6000"/>
            </a:lvl1pPr>
          </a:lstStyle>
          <a:p>
            <a:r>
              <a:rPr lang="de-CH"/>
              <a:t>Titelmasterformat durch Klicken bearbeiten</a:t>
            </a:r>
            <a:endParaRPr lang="de-CH" dirty="0"/>
          </a:p>
        </p:txBody>
      </p:sp>
      <p:sp>
        <p:nvSpPr>
          <p:cNvPr id="3" name="Untertitel 2"/>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CH"/>
              <a:t>Formatvorlage des Untertitelmasters durch Klicken bearbeiten</a:t>
            </a:r>
            <a:endParaRPr lang="de-CH" dirty="0"/>
          </a:p>
        </p:txBody>
      </p:sp>
      <p:sp>
        <p:nvSpPr>
          <p:cNvPr id="4" name="Datumsplatzhalter 3"/>
          <p:cNvSpPr>
            <a:spLocks noGrp="1"/>
          </p:cNvSpPr>
          <p:nvPr>
            <p:ph type="dt" sz="half" idx="10"/>
          </p:nvPr>
        </p:nvSpPr>
        <p:spPr/>
        <p:txBody>
          <a:bodyPr/>
          <a:lstStyle>
            <a:lvl1pPr rtl="0">
              <a:defRPr/>
            </a:lvl1pPr>
          </a:lstStyle>
          <a:p>
            <a:fld id="{256D9DC5-D527-4507-BF0D-DF428C3509BD}" type="datetime1">
              <a:rPr lang="de-CH" smtClean="0"/>
              <a:t>29.02.2024</a:t>
            </a:fld>
            <a:endParaRPr lang="de-CH" dirty="0"/>
          </a:p>
        </p:txBody>
      </p:sp>
      <p:sp>
        <p:nvSpPr>
          <p:cNvPr id="5" name="Fußzeilenplatzhalter 4"/>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p:cNvSpPr>
            <a:spLocks noGrp="1"/>
          </p:cNvSpPr>
          <p:nvPr>
            <p:ph type="sldNum" sz="quarter" idx="12"/>
          </p:nvPr>
        </p:nvSpPr>
        <p:spPr/>
        <p:txBody>
          <a:bodyPr/>
          <a:lstStyle>
            <a:lvl1pPr rtl="0">
              <a:defRPr/>
            </a:lvl1pPr>
          </a:lstStyle>
          <a:p>
            <a:fld id="{2D71180F-1139-45C3-90C5-3A85A95B0D4D}" type="slidenum">
              <a:rPr lang="de-CH" smtClean="0"/>
              <a:pPr/>
              <a:t>‹#›</a:t>
            </a:fld>
            <a:endParaRPr lang="de-CH" dirty="0"/>
          </a:p>
        </p:txBody>
      </p:sp>
    </p:spTree>
    <p:extLst>
      <p:ext uri="{BB962C8B-B14F-4D97-AF65-F5344CB8AC3E}">
        <p14:creationId xmlns:p14="http://schemas.microsoft.com/office/powerpoint/2010/main" val="390685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689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BC9D52-5E1A-FE24-5D2D-8CE881468EDF}"/>
              </a:ext>
            </a:extLst>
          </p:cNvPr>
          <p:cNvGraphicFramePr>
            <a:graphicFrameLocks noChangeAspect="1"/>
          </p:cNvGraphicFramePr>
          <p:nvPr userDrawn="1">
            <p:custDataLst>
              <p:tags r:id="rId1"/>
            </p:custDataLst>
            <p:extLst>
              <p:ext uri="{D42A27DB-BD31-4B8C-83A1-F6EECF244321}">
                <p14:modId xmlns:p14="http://schemas.microsoft.com/office/powerpoint/2010/main" val="2914122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9DBC9D52-5E1A-FE24-5D2D-8CE881468E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4">
            <a:extLst>
              <a:ext uri="{FF2B5EF4-FFF2-40B4-BE49-F238E27FC236}">
                <a16:creationId xmlns:a16="http://schemas.microsoft.com/office/drawing/2014/main" id="{8A01615F-450E-43D0-B554-DA3FBD48DF34}"/>
              </a:ext>
            </a:extLst>
          </p:cNvPr>
          <p:cNvSpPr>
            <a:spLocks noGrp="1"/>
          </p:cNvSpPr>
          <p:nvPr>
            <p:ph type="pic" sz="quarter" idx="11" hasCustomPrompt="1"/>
          </p:nvPr>
        </p:nvSpPr>
        <p:spPr>
          <a:xfrm>
            <a:off x="731838" y="1016000"/>
            <a:ext cx="10728325" cy="5256000"/>
          </a:xfrm>
        </p:spPr>
        <p:txBody>
          <a:bodyPr lIns="0" tIns="0" rIns="558000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6504000" y="2957494"/>
            <a:ext cx="5688000" cy="2268000"/>
          </a:xfrm>
          <a:solidFill>
            <a:schemeClr val="accent2"/>
          </a:solidFill>
        </p:spPr>
        <p:txBody>
          <a:bodyPr vert="horz" lIns="324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Textplatzhalter 3">
            <a:extLst>
              <a:ext uri="{FF2B5EF4-FFF2-40B4-BE49-F238E27FC236}">
                <a16:creationId xmlns:a16="http://schemas.microsoft.com/office/drawing/2014/main" id="{003A487C-8977-4264-A8A1-D6C1DB604682}"/>
              </a:ext>
            </a:extLst>
          </p:cNvPr>
          <p:cNvSpPr>
            <a:spLocks noGrp="1"/>
          </p:cNvSpPr>
          <p:nvPr>
            <p:ph type="body" sz="quarter" idx="13" hasCustomPrompt="1"/>
          </p:nvPr>
        </p:nvSpPr>
        <p:spPr>
          <a:xfrm>
            <a:off x="6845210" y="4639666"/>
            <a:ext cx="4320000" cy="46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3" name="Bildplatzhalter 8">
            <a:extLst>
              <a:ext uri="{FF2B5EF4-FFF2-40B4-BE49-F238E27FC236}">
                <a16:creationId xmlns:a16="http://schemas.microsoft.com/office/drawing/2014/main" id="{E91D3734-CD8F-4F94-A813-570EF31C4732}"/>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8" name="Textplatzhalter 5">
            <a:extLst>
              <a:ext uri="{FF2B5EF4-FFF2-40B4-BE49-F238E27FC236}">
                <a16:creationId xmlns:a16="http://schemas.microsoft.com/office/drawing/2014/main" id="{547D2927-4A99-4714-8EBA-F773EAA26308}"/>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10024114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elfolie 01">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7E5EDB-4F3E-683F-C9F4-54873E5EF298}"/>
              </a:ext>
            </a:extLst>
          </p:cNvPr>
          <p:cNvGraphicFramePr>
            <a:graphicFrameLocks noChangeAspect="1"/>
          </p:cNvGraphicFramePr>
          <p:nvPr userDrawn="1">
            <p:custDataLst>
              <p:tags r:id="rId1"/>
            </p:custDataLst>
            <p:extLst>
              <p:ext uri="{D42A27DB-BD31-4B8C-83A1-F6EECF244321}">
                <p14:modId xmlns:p14="http://schemas.microsoft.com/office/powerpoint/2010/main" val="4252824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B07E5EDB-4F3E-683F-C9F4-54873E5EF29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chemeClr val="accent1"/>
          </a:solidFill>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Bildplatzhalter 8">
            <a:extLst>
              <a:ext uri="{FF2B5EF4-FFF2-40B4-BE49-F238E27FC236}">
                <a16:creationId xmlns:a16="http://schemas.microsoft.com/office/drawing/2014/main" id="{C3C296D1-2CD0-479F-A866-6EC741D2293B}"/>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4" name="Textplatzhalter 3">
            <a:extLst>
              <a:ext uri="{FF2B5EF4-FFF2-40B4-BE49-F238E27FC236}">
                <a16:creationId xmlns:a16="http://schemas.microsoft.com/office/drawing/2014/main" id="{EE41BE31-9613-4103-99FF-7DCFF643B329}"/>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6" name="Textplatzhalter 5">
            <a:extLst>
              <a:ext uri="{FF2B5EF4-FFF2-40B4-BE49-F238E27FC236}">
                <a16:creationId xmlns:a16="http://schemas.microsoft.com/office/drawing/2014/main" id="{EDEB298C-798E-4D73-9DD6-F896C06530C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2582942470"/>
      </p:ext>
    </p:extLst>
  </p:cSld>
  <p:clrMapOvr>
    <a:masterClrMapping/>
  </p:clrMapOvr>
  <p:extLst>
    <p:ext uri="{DCECCB84-F9BA-43D5-87BE-67443E8EF086}">
      <p15:sldGuideLst xmlns:p15="http://schemas.microsoft.com/office/powerpoint/2012/main">
        <p15:guide id="2" pos="3840">
          <p15:clr>
            <a:srgbClr val="FBAE40"/>
          </p15:clr>
        </p15:guide>
        <p15:guide id="3" orient="horz" pos="640">
          <p15:clr>
            <a:srgbClr val="FBAE40"/>
          </p15:clr>
        </p15:guide>
        <p15:guide id="4" orient="horz" pos="3952">
          <p15:clr>
            <a:srgbClr val="FBAE40"/>
          </p15:clr>
        </p15:guide>
        <p15:guide id="5" pos="610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elfolie 0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D032AB-E3F2-C9C2-3D41-29B4E131A95C}"/>
              </a:ext>
            </a:extLst>
          </p:cNvPr>
          <p:cNvGraphicFramePr>
            <a:graphicFrameLocks noChangeAspect="1"/>
          </p:cNvGraphicFramePr>
          <p:nvPr userDrawn="1">
            <p:custDataLst>
              <p:tags r:id="rId1"/>
            </p:custDataLst>
            <p:extLst>
              <p:ext uri="{D42A27DB-BD31-4B8C-83A1-F6EECF244321}">
                <p14:modId xmlns:p14="http://schemas.microsoft.com/office/powerpoint/2010/main" val="3751432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71D032AB-E3F2-C9C2-3D41-29B4E131A9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4">
            <a:extLst>
              <a:ext uri="{FF2B5EF4-FFF2-40B4-BE49-F238E27FC236}">
                <a16:creationId xmlns:a16="http://schemas.microsoft.com/office/drawing/2014/main" id="{8A01615F-450E-43D0-B554-DA3FBD48DF34}"/>
              </a:ext>
            </a:extLst>
          </p:cNvPr>
          <p:cNvSpPr>
            <a:spLocks noGrp="1"/>
          </p:cNvSpPr>
          <p:nvPr>
            <p:ph type="pic" sz="quarter" idx="11" hasCustomPrompt="1"/>
          </p:nvPr>
        </p:nvSpPr>
        <p:spPr>
          <a:xfrm>
            <a:off x="731838" y="1016000"/>
            <a:ext cx="10728325" cy="5256000"/>
          </a:xfrm>
        </p:spPr>
        <p:txBody>
          <a:bodyPr lIns="0" tIns="0" rIns="558000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6504000" y="2957494"/>
            <a:ext cx="5688000" cy="2268000"/>
          </a:xfrm>
          <a:solidFill>
            <a:schemeClr val="accent2"/>
          </a:solidFill>
        </p:spPr>
        <p:txBody>
          <a:bodyPr vert="horz" lIns="324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9" name="Textplatzhalter 3">
            <a:extLst>
              <a:ext uri="{FF2B5EF4-FFF2-40B4-BE49-F238E27FC236}">
                <a16:creationId xmlns:a16="http://schemas.microsoft.com/office/drawing/2014/main" id="{003A487C-8977-4264-A8A1-D6C1DB604682}"/>
              </a:ext>
            </a:extLst>
          </p:cNvPr>
          <p:cNvSpPr>
            <a:spLocks noGrp="1"/>
          </p:cNvSpPr>
          <p:nvPr>
            <p:ph type="body" sz="quarter" idx="13" hasCustomPrompt="1"/>
          </p:nvPr>
        </p:nvSpPr>
        <p:spPr>
          <a:xfrm>
            <a:off x="6845210" y="4639666"/>
            <a:ext cx="4320000" cy="46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3" name="Bildplatzhalter 8">
            <a:extLst>
              <a:ext uri="{FF2B5EF4-FFF2-40B4-BE49-F238E27FC236}">
                <a16:creationId xmlns:a16="http://schemas.microsoft.com/office/drawing/2014/main" id="{E91D3734-CD8F-4F94-A813-570EF31C4732}"/>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8" name="Textplatzhalter 5">
            <a:extLst>
              <a:ext uri="{FF2B5EF4-FFF2-40B4-BE49-F238E27FC236}">
                <a16:creationId xmlns:a16="http://schemas.microsoft.com/office/drawing/2014/main" id="{547D2927-4A99-4714-8EBA-F773EAA26308}"/>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274571256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elfoli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DA53BB-66D9-7F73-CECF-6387E332825A}"/>
              </a:ext>
            </a:extLst>
          </p:cNvPr>
          <p:cNvGraphicFramePr>
            <a:graphicFrameLocks noChangeAspect="1"/>
          </p:cNvGraphicFramePr>
          <p:nvPr userDrawn="1">
            <p:custDataLst>
              <p:tags r:id="rId1"/>
            </p:custDataLst>
            <p:extLst>
              <p:ext uri="{D42A27DB-BD31-4B8C-83A1-F6EECF244321}">
                <p14:modId xmlns:p14="http://schemas.microsoft.com/office/powerpoint/2010/main" val="1520621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0DA53BB-66D9-7F73-CECF-6387E33282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62D94F76-218E-49F2-87F8-05982912ED18}"/>
              </a:ext>
            </a:extLst>
          </p:cNvPr>
          <p:cNvSpPr/>
          <p:nvPr userDrawn="1"/>
        </p:nvSpPr>
        <p:spPr>
          <a:xfrm>
            <a:off x="731838" y="1016000"/>
            <a:ext cx="10728325" cy="525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1" y="1940405"/>
            <a:ext cx="10188000" cy="3420000"/>
          </a:xfrm>
          <a:solidFill>
            <a:srgbClr val="E5F2F5"/>
          </a:solidFill>
          <a:ln>
            <a:noFill/>
          </a:ln>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7" name="Textplatzhalter 3">
            <a:extLst>
              <a:ext uri="{FF2B5EF4-FFF2-40B4-BE49-F238E27FC236}">
                <a16:creationId xmlns:a16="http://schemas.microsoft.com/office/drawing/2014/main" id="{0503E57F-F89F-431B-8D38-7CC97B7C201A}"/>
              </a:ext>
            </a:extLst>
          </p:cNvPr>
          <p:cNvSpPr>
            <a:spLocks noGrp="1"/>
          </p:cNvSpPr>
          <p:nvPr>
            <p:ph type="body" sz="quarter" idx="13" hasCustomPrompt="1"/>
          </p:nvPr>
        </p:nvSpPr>
        <p:spPr>
          <a:xfrm>
            <a:off x="1078516" y="4217884"/>
            <a:ext cx="864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2" name="Bildplatzhalter 8">
            <a:extLst>
              <a:ext uri="{FF2B5EF4-FFF2-40B4-BE49-F238E27FC236}">
                <a16:creationId xmlns:a16="http://schemas.microsoft.com/office/drawing/2014/main" id="{1BEB6197-C509-4752-B57E-CEE955F5D926}"/>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8" name="Textplatzhalter 5">
            <a:extLst>
              <a:ext uri="{FF2B5EF4-FFF2-40B4-BE49-F238E27FC236}">
                <a16:creationId xmlns:a16="http://schemas.microsoft.com/office/drawing/2014/main" id="{4ADF7DEC-21BD-45CA-9E91-B9F58A69F62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1333595292"/>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elfolie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F3A83FC-24AD-6BCE-AF56-A1CFBE66824B}"/>
              </a:ext>
            </a:extLst>
          </p:cNvPr>
          <p:cNvGraphicFramePr>
            <a:graphicFrameLocks noChangeAspect="1"/>
          </p:cNvGraphicFramePr>
          <p:nvPr userDrawn="1">
            <p:custDataLst>
              <p:tags r:id="rId1"/>
            </p:custDataLst>
            <p:extLst>
              <p:ext uri="{D42A27DB-BD31-4B8C-83A1-F6EECF244321}">
                <p14:modId xmlns:p14="http://schemas.microsoft.com/office/powerpoint/2010/main" val="4128700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6F3A83FC-24AD-6BCE-AF56-A1CFBE6682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731837" y="1016000"/>
            <a:ext cx="10728326" cy="5256000"/>
          </a:xfrm>
          <a:solidFill>
            <a:schemeClr val="accent3"/>
          </a:solidFill>
          <a:ln>
            <a:noFill/>
          </a:ln>
        </p:spPr>
        <p:txBody>
          <a:bodyPr vert="horz" lIns="324000" tIns="11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6" name="Textplatzhalter 3">
            <a:extLst>
              <a:ext uri="{FF2B5EF4-FFF2-40B4-BE49-F238E27FC236}">
                <a16:creationId xmlns:a16="http://schemas.microsoft.com/office/drawing/2014/main" id="{5FCAD79B-EF47-46A0-9575-229F3DAA72F5}"/>
              </a:ext>
            </a:extLst>
          </p:cNvPr>
          <p:cNvSpPr>
            <a:spLocks noGrp="1"/>
          </p:cNvSpPr>
          <p:nvPr>
            <p:ph type="body" sz="quarter" idx="13" hasCustomPrompt="1"/>
          </p:nvPr>
        </p:nvSpPr>
        <p:spPr>
          <a:xfrm>
            <a:off x="1078515" y="5122625"/>
            <a:ext cx="10044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8" name="Bildplatzhalter 8">
            <a:extLst>
              <a:ext uri="{FF2B5EF4-FFF2-40B4-BE49-F238E27FC236}">
                <a16:creationId xmlns:a16="http://schemas.microsoft.com/office/drawing/2014/main" id="{72236FC6-C8FF-43C1-86B9-BF112345926F}"/>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7" name="Textplatzhalter 5">
            <a:extLst>
              <a:ext uri="{FF2B5EF4-FFF2-40B4-BE49-F238E27FC236}">
                <a16:creationId xmlns:a16="http://schemas.microsoft.com/office/drawing/2014/main" id="{789A3267-E086-4EC3-A0BB-F8ECD01A5C7E}"/>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3987581940"/>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elfolie 04 – Uni Zürich">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04602C9-06E1-DF73-1C1F-D43792326339}"/>
              </a:ext>
            </a:extLst>
          </p:cNvPr>
          <p:cNvGraphicFramePr>
            <a:graphicFrameLocks noChangeAspect="1"/>
          </p:cNvGraphicFramePr>
          <p:nvPr userDrawn="1">
            <p:custDataLst>
              <p:tags r:id="rId1"/>
            </p:custDataLst>
            <p:extLst>
              <p:ext uri="{D42A27DB-BD31-4B8C-83A1-F6EECF244321}">
                <p14:modId xmlns:p14="http://schemas.microsoft.com/office/powerpoint/2010/main" val="1147043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904602C9-06E1-DF73-1C1F-D437923263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rgbClr val="007A96"/>
          </a:solidFill>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4" name="Grafik 3">
            <a:extLst>
              <a:ext uri="{FF2B5EF4-FFF2-40B4-BE49-F238E27FC236}">
                <a16:creationId xmlns:a16="http://schemas.microsoft.com/office/drawing/2014/main" id="{793E2EDD-B19F-478D-BB03-AD55EC1E86B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7672" y="228020"/>
            <a:ext cx="3679200" cy="552508"/>
          </a:xfrm>
          <a:prstGeom prst="rect">
            <a:avLst/>
          </a:prstGeom>
        </p:spPr>
      </p:pic>
      <p:sp>
        <p:nvSpPr>
          <p:cNvPr id="7" name="Textplatzhalter 3">
            <a:extLst>
              <a:ext uri="{FF2B5EF4-FFF2-40B4-BE49-F238E27FC236}">
                <a16:creationId xmlns:a16="http://schemas.microsoft.com/office/drawing/2014/main" id="{D364BCB8-820F-4C3A-BA37-7048A4C8D4C3}"/>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1" name="Bildplatzhalter 8">
            <a:extLst>
              <a:ext uri="{FF2B5EF4-FFF2-40B4-BE49-F238E27FC236}">
                <a16:creationId xmlns:a16="http://schemas.microsoft.com/office/drawing/2014/main" id="{A73913C2-8DFE-4F15-B2DB-2A6D5C267009}"/>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9" name="Textplatzhalter 5">
            <a:extLst>
              <a:ext uri="{FF2B5EF4-FFF2-40B4-BE49-F238E27FC236}">
                <a16:creationId xmlns:a16="http://schemas.microsoft.com/office/drawing/2014/main" id="{791A1AD7-DB7D-4C75-BEFB-EB6D34D3B2AB}"/>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3929383066"/>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Inhalt mit Fussn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0219EBA-1C80-A0E9-B24B-37885A5A8D20}"/>
              </a:ext>
            </a:extLst>
          </p:cNvPr>
          <p:cNvGraphicFramePr>
            <a:graphicFrameLocks noChangeAspect="1"/>
          </p:cNvGraphicFramePr>
          <p:nvPr userDrawn="1">
            <p:custDataLst>
              <p:tags r:id="rId1"/>
            </p:custDataLst>
            <p:extLst>
              <p:ext uri="{D42A27DB-BD31-4B8C-83A1-F6EECF244321}">
                <p14:modId xmlns:p14="http://schemas.microsoft.com/office/powerpoint/2010/main" val="2683346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00219EBA-1C80-A0E9-B24B-37885A5A8D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9918D144-052A-4529-A9E4-61552B1E1828}"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Textplatzhalter 10">
            <a:extLst>
              <a:ext uri="{FF2B5EF4-FFF2-40B4-BE49-F238E27FC236}">
                <a16:creationId xmlns:a16="http://schemas.microsoft.com/office/drawing/2014/main" id="{2F6D94FA-21C6-4AE0-AA4F-3A077810ED93}"/>
              </a:ext>
            </a:extLst>
          </p:cNvPr>
          <p:cNvSpPr>
            <a:spLocks noGrp="1"/>
          </p:cNvSpPr>
          <p:nvPr>
            <p:ph type="body" sz="quarter" idx="13" hasCustomPrompt="1"/>
          </p:nvPr>
        </p:nvSpPr>
        <p:spPr>
          <a:xfrm>
            <a:off x="731836" y="5570135"/>
            <a:ext cx="5364164" cy="721233"/>
          </a:xfrm>
        </p:spPr>
        <p:txBody>
          <a:bodyPr anchor="b" anchorCtr="0"/>
          <a:lstStyle>
            <a:lvl1pPr marL="179388" indent="-179388" rtl="0">
              <a:spcBef>
                <a:spcPts val="0"/>
              </a:spcBef>
              <a:buFont typeface="+mj-lt"/>
              <a:buAutoNum type="arabicPeriod"/>
              <a:defRPr sz="800"/>
            </a:lvl1pPr>
            <a:lvl2pPr marL="266700" indent="0">
              <a:buNone/>
              <a:defRPr sz="800"/>
            </a:lvl2pPr>
            <a:lvl3pPr marL="538163" indent="0">
              <a:buNone/>
              <a:defRPr sz="800"/>
            </a:lvl3pPr>
            <a:lvl4pPr marL="804862" indent="0">
              <a:buNone/>
              <a:defRPr sz="800"/>
            </a:lvl4pPr>
            <a:lvl5pPr marL="1076325" indent="0">
              <a:buNone/>
              <a:defRPr sz="800"/>
            </a:lvl5pPr>
          </a:lstStyle>
          <a:p>
            <a:pPr lvl="0"/>
            <a:r>
              <a:rPr lang="de-CH" noProof="0"/>
              <a:t>Mastertextformat bearbeiten</a:t>
            </a:r>
            <a:endParaRPr lang="de-CH" noProof="0" dirty="0"/>
          </a:p>
        </p:txBody>
      </p:sp>
    </p:spTree>
    <p:extLst>
      <p:ext uri="{BB962C8B-B14F-4D97-AF65-F5344CB8AC3E}">
        <p14:creationId xmlns:p14="http://schemas.microsoft.com/office/powerpoint/2010/main" val="25332571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Zwischen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15C5B71-4EA8-CE98-62D3-A96FDB8A9640}"/>
              </a:ext>
            </a:extLst>
          </p:cNvPr>
          <p:cNvGraphicFramePr>
            <a:graphicFrameLocks noChangeAspect="1"/>
          </p:cNvGraphicFramePr>
          <p:nvPr userDrawn="1">
            <p:custDataLst>
              <p:tags r:id="rId1"/>
            </p:custDataLst>
            <p:extLst>
              <p:ext uri="{D42A27DB-BD31-4B8C-83A1-F6EECF244321}">
                <p14:modId xmlns:p14="http://schemas.microsoft.com/office/powerpoint/2010/main" val="4114106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515C5B71-4EA8-CE98-62D3-A96FDB8A96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a:xfrm>
            <a:off x="731837" y="2224781"/>
            <a:ext cx="10728325" cy="1260000"/>
          </a:xfrm>
        </p:spPr>
        <p:txBody>
          <a:bodyPr vert="horz"/>
          <a:lstStyle>
            <a:lvl1pPr rtl="0">
              <a:lnSpc>
                <a:spcPct val="100000"/>
              </a:lnSpc>
              <a:defRPr sz="3600">
                <a:solidFill>
                  <a:schemeClr val="bg1"/>
                </a:solidFill>
              </a:defRPr>
            </a:lvl1pPr>
          </a:lstStyle>
          <a:p>
            <a:r>
              <a:rPr lang="de-CH" noProof="0"/>
              <a:t>Mastertitel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solidFill>
                  <a:schemeClr val="bg1"/>
                </a:solidFill>
              </a:defRPr>
            </a:lvl1pPr>
          </a:lstStyle>
          <a:p>
            <a:fld id="{3AA3C490-1C31-4E3F-AAA5-EDCEFA1F206B}"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solidFill>
                  <a:schemeClr val="bg1"/>
                </a:solidFill>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solidFill>
                  <a:schemeClr val="bg1"/>
                </a:solidFill>
              </a:defRPr>
            </a:lvl1pPr>
          </a:lstStyle>
          <a:p>
            <a:fld id="{5ACA52AF-F19D-405C-AD5F-7D94B96A5CC3}" type="slidenum">
              <a:rPr lang="de-CH" smtClean="0"/>
              <a:pPr/>
              <a:t>‹#›</a:t>
            </a:fld>
            <a:endParaRPr lang="de-CH" dirty="0"/>
          </a:p>
        </p:txBody>
      </p:sp>
      <p:grpSp>
        <p:nvGrpSpPr>
          <p:cNvPr id="10" name="Grafik 6">
            <a:extLst>
              <a:ext uri="{FF2B5EF4-FFF2-40B4-BE49-F238E27FC236}">
                <a16:creationId xmlns:a16="http://schemas.microsoft.com/office/drawing/2014/main" id="{7F7C476A-2849-4D68-9FA2-3A5CFC13C833}"/>
              </a:ext>
            </a:extLst>
          </p:cNvPr>
          <p:cNvGrpSpPr/>
          <p:nvPr/>
        </p:nvGrpSpPr>
        <p:grpSpPr>
          <a:xfrm>
            <a:off x="731837" y="6507088"/>
            <a:ext cx="984462" cy="162000"/>
            <a:chOff x="731837" y="6507088"/>
            <a:chExt cx="984462" cy="162000"/>
          </a:xfrm>
          <a:solidFill>
            <a:schemeClr val="bg1"/>
          </a:solidFill>
        </p:grpSpPr>
        <p:grpSp>
          <p:nvGrpSpPr>
            <p:cNvPr id="12" name="Grafik 6">
              <a:extLst>
                <a:ext uri="{FF2B5EF4-FFF2-40B4-BE49-F238E27FC236}">
                  <a16:creationId xmlns:a16="http://schemas.microsoft.com/office/drawing/2014/main" id="{7F7C476A-2849-4D68-9FA2-3A5CFC13C833}"/>
                </a:ext>
              </a:extLst>
            </p:cNvPr>
            <p:cNvGrpSpPr/>
            <p:nvPr/>
          </p:nvGrpSpPr>
          <p:grpSpPr>
            <a:xfrm>
              <a:off x="1266489" y="6555186"/>
              <a:ext cx="197463" cy="110963"/>
              <a:chOff x="1266489" y="6555186"/>
              <a:chExt cx="197463" cy="110963"/>
            </a:xfrm>
            <a:grpFill/>
          </p:grpSpPr>
          <p:sp>
            <p:nvSpPr>
              <p:cNvPr id="13" name="Freihandform: Form 12">
                <a:extLst>
                  <a:ext uri="{FF2B5EF4-FFF2-40B4-BE49-F238E27FC236}">
                    <a16:creationId xmlns:a16="http://schemas.microsoft.com/office/drawing/2014/main" id="{18BB0752-F87C-44D9-A9A5-97AF1DEDA1AE}"/>
                  </a:ext>
                </a:extLst>
              </p:cNvPr>
              <p:cNvSpPr/>
              <p:nvPr/>
            </p:nvSpPr>
            <p:spPr>
              <a:xfrm>
                <a:off x="1266489" y="6556934"/>
                <a:ext cx="95902" cy="109216"/>
              </a:xfrm>
              <a:custGeom>
                <a:avLst/>
                <a:gdLst>
                  <a:gd name="connsiteX0" fmla="*/ 66742 w 95902"/>
                  <a:gd name="connsiteY0" fmla="*/ 65797 h 109216"/>
                  <a:gd name="connsiteX1" fmla="*/ 35339 w 95902"/>
                  <a:gd name="connsiteY1" fmla="*/ 95082 h 109216"/>
                  <a:gd name="connsiteX2" fmla="*/ 15953 w 95902"/>
                  <a:gd name="connsiteY2" fmla="*/ 79537 h 109216"/>
                  <a:gd name="connsiteX3" fmla="*/ 15899 w 95902"/>
                  <a:gd name="connsiteY3" fmla="*/ 76265 h 109216"/>
                  <a:gd name="connsiteX4" fmla="*/ 16896 w 95902"/>
                  <a:gd name="connsiteY4" fmla="*/ 66295 h 109216"/>
                  <a:gd name="connsiteX5" fmla="*/ 30230 w 95902"/>
                  <a:gd name="connsiteY5" fmla="*/ 0 h 109216"/>
                  <a:gd name="connsiteX6" fmla="*/ 30230 w 95902"/>
                  <a:gd name="connsiteY6" fmla="*/ 0 h 109216"/>
                  <a:gd name="connsiteX7" fmla="*/ 14528 w 95902"/>
                  <a:gd name="connsiteY7" fmla="*/ 0 h 109216"/>
                  <a:gd name="connsiteX8" fmla="*/ 1194 w 95902"/>
                  <a:gd name="connsiteY8" fmla="*/ 67791 h 109216"/>
                  <a:gd name="connsiteX9" fmla="*/ 1194 w 95902"/>
                  <a:gd name="connsiteY9" fmla="*/ 68788 h 109216"/>
                  <a:gd name="connsiteX10" fmla="*/ 73 w 95902"/>
                  <a:gd name="connsiteY10" fmla="*/ 78508 h 109216"/>
                  <a:gd name="connsiteX11" fmla="*/ 26638 w 95902"/>
                  <a:gd name="connsiteY11" fmla="*/ 109122 h 109216"/>
                  <a:gd name="connsiteX12" fmla="*/ 29980 w 95902"/>
                  <a:gd name="connsiteY12" fmla="*/ 109163 h 109216"/>
                  <a:gd name="connsiteX13" fmla="*/ 61384 w 95902"/>
                  <a:gd name="connsiteY13" fmla="*/ 96702 h 109216"/>
                  <a:gd name="connsiteX14" fmla="*/ 59265 w 95902"/>
                  <a:gd name="connsiteY14" fmla="*/ 107917 h 109216"/>
                  <a:gd name="connsiteX15" fmla="*/ 59265 w 95902"/>
                  <a:gd name="connsiteY15" fmla="*/ 107917 h 109216"/>
                  <a:gd name="connsiteX16" fmla="*/ 74842 w 95902"/>
                  <a:gd name="connsiteY16" fmla="*/ 107917 h 109216"/>
                  <a:gd name="connsiteX17" fmla="*/ 95902 w 95902"/>
                  <a:gd name="connsiteY17" fmla="*/ 0 h 109216"/>
                  <a:gd name="connsiteX18" fmla="*/ 95902 w 95902"/>
                  <a:gd name="connsiteY18" fmla="*/ 0 h 109216"/>
                  <a:gd name="connsiteX19" fmla="*/ 79951 w 95902"/>
                  <a:gd name="connsiteY19" fmla="*/ 0 h 10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902" h="109216">
                    <a:moveTo>
                      <a:pt x="66742" y="65797"/>
                    </a:moveTo>
                    <a:cubicBezTo>
                      <a:pt x="65228" y="82115"/>
                      <a:pt x="51723" y="94709"/>
                      <a:pt x="35339" y="95082"/>
                    </a:cubicBezTo>
                    <a:cubicBezTo>
                      <a:pt x="25692" y="96142"/>
                      <a:pt x="17013" y="89183"/>
                      <a:pt x="15953" y="79537"/>
                    </a:cubicBezTo>
                    <a:cubicBezTo>
                      <a:pt x="15833" y="78450"/>
                      <a:pt x="15814" y="77355"/>
                      <a:pt x="15899" y="76265"/>
                    </a:cubicBezTo>
                    <a:cubicBezTo>
                      <a:pt x="15976" y="72921"/>
                      <a:pt x="16309" y="69588"/>
                      <a:pt x="16896" y="66295"/>
                    </a:cubicBezTo>
                    <a:lnTo>
                      <a:pt x="30230" y="0"/>
                    </a:lnTo>
                    <a:lnTo>
                      <a:pt x="30230" y="0"/>
                    </a:lnTo>
                    <a:lnTo>
                      <a:pt x="14528" y="0"/>
                    </a:lnTo>
                    <a:lnTo>
                      <a:pt x="1194" y="67791"/>
                    </a:lnTo>
                    <a:lnTo>
                      <a:pt x="1194" y="68788"/>
                    </a:lnTo>
                    <a:cubicBezTo>
                      <a:pt x="472" y="71978"/>
                      <a:pt x="95" y="75237"/>
                      <a:pt x="73" y="78508"/>
                    </a:cubicBezTo>
                    <a:cubicBezTo>
                      <a:pt x="-1045" y="94298"/>
                      <a:pt x="10848" y="108004"/>
                      <a:pt x="26638" y="109122"/>
                    </a:cubicBezTo>
                    <a:cubicBezTo>
                      <a:pt x="27751" y="109200"/>
                      <a:pt x="28866" y="109214"/>
                      <a:pt x="29980" y="109163"/>
                    </a:cubicBezTo>
                    <a:cubicBezTo>
                      <a:pt x="41760" y="109765"/>
                      <a:pt x="53221" y="105218"/>
                      <a:pt x="61384" y="96702"/>
                    </a:cubicBezTo>
                    <a:lnTo>
                      <a:pt x="59265" y="107917"/>
                    </a:lnTo>
                    <a:lnTo>
                      <a:pt x="59265" y="107917"/>
                    </a:lnTo>
                    <a:lnTo>
                      <a:pt x="74842" y="107917"/>
                    </a:lnTo>
                    <a:lnTo>
                      <a:pt x="95902" y="0"/>
                    </a:lnTo>
                    <a:lnTo>
                      <a:pt x="95902" y="0"/>
                    </a:lnTo>
                    <a:lnTo>
                      <a:pt x="79951" y="0"/>
                    </a:lnTo>
                    <a:close/>
                  </a:path>
                </a:pathLst>
              </a:custGeom>
              <a:grpFill/>
              <a:ln w="12419" cap="flat">
                <a:noFill/>
                <a:prstDash val="solid"/>
                <a:miter/>
              </a:ln>
            </p:spPr>
            <p:txBody>
              <a:bodyPr rtlCol="0" anchor="ctr"/>
              <a:lstStyle/>
              <a:p>
                <a:pPr rtl="0"/>
                <a:endParaRPr lang="de-CH" noProof="0" dirty="0"/>
              </a:p>
            </p:txBody>
          </p:sp>
          <p:sp>
            <p:nvSpPr>
              <p:cNvPr id="14" name="Freihandform: Form 13">
                <a:extLst>
                  <a:ext uri="{FF2B5EF4-FFF2-40B4-BE49-F238E27FC236}">
                    <a16:creationId xmlns:a16="http://schemas.microsoft.com/office/drawing/2014/main" id="{ED44DE23-7081-4AC9-BF06-502BEC71C004}"/>
                  </a:ext>
                </a:extLst>
              </p:cNvPr>
              <p:cNvSpPr/>
              <p:nvPr/>
            </p:nvSpPr>
            <p:spPr>
              <a:xfrm>
                <a:off x="1376472" y="6555186"/>
                <a:ext cx="87480" cy="109664"/>
              </a:xfrm>
              <a:custGeom>
                <a:avLst/>
                <a:gdLst>
                  <a:gd name="connsiteX0" fmla="*/ 64302 w 87480"/>
                  <a:gd name="connsiteY0" fmla="*/ 3 h 109664"/>
                  <a:gd name="connsiteX1" fmla="*/ 34518 w 87480"/>
                  <a:gd name="connsiteY1" fmla="*/ 14209 h 109664"/>
                  <a:gd name="connsiteX2" fmla="*/ 36886 w 87480"/>
                  <a:gd name="connsiteY2" fmla="*/ 1747 h 109664"/>
                  <a:gd name="connsiteX3" fmla="*/ 36886 w 87480"/>
                  <a:gd name="connsiteY3" fmla="*/ 1747 h 109664"/>
                  <a:gd name="connsiteX4" fmla="*/ 21434 w 87480"/>
                  <a:gd name="connsiteY4" fmla="*/ 1747 h 109664"/>
                  <a:gd name="connsiteX5" fmla="*/ 0 w 87480"/>
                  <a:gd name="connsiteY5" fmla="*/ 109664 h 109664"/>
                  <a:gd name="connsiteX6" fmla="*/ 0 w 87480"/>
                  <a:gd name="connsiteY6" fmla="*/ 109664 h 109664"/>
                  <a:gd name="connsiteX7" fmla="*/ 15826 w 87480"/>
                  <a:gd name="connsiteY7" fmla="*/ 109664 h 109664"/>
                  <a:gd name="connsiteX8" fmla="*/ 28288 w 87480"/>
                  <a:gd name="connsiteY8" fmla="*/ 43493 h 109664"/>
                  <a:gd name="connsiteX9" fmla="*/ 59940 w 87480"/>
                  <a:gd name="connsiteY9" fmla="*/ 14209 h 109664"/>
                  <a:gd name="connsiteX10" fmla="*/ 75019 w 87480"/>
                  <a:gd name="connsiteY10" fmla="*/ 21810 h 109664"/>
                  <a:gd name="connsiteX11" fmla="*/ 75019 w 87480"/>
                  <a:gd name="connsiteY11" fmla="*/ 21810 h 109664"/>
                  <a:gd name="connsiteX12" fmla="*/ 87480 w 87480"/>
                  <a:gd name="connsiteY12" fmla="*/ 10346 h 109664"/>
                  <a:gd name="connsiteX13" fmla="*/ 87480 w 87480"/>
                  <a:gd name="connsiteY13" fmla="*/ 10346 h 109664"/>
                  <a:gd name="connsiteX14" fmla="*/ 63928 w 87480"/>
                  <a:gd name="connsiteY14" fmla="*/ 252 h 1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480" h="109664">
                    <a:moveTo>
                      <a:pt x="64302" y="3"/>
                    </a:moveTo>
                    <a:cubicBezTo>
                      <a:pt x="52709" y="-136"/>
                      <a:pt x="41706" y="5111"/>
                      <a:pt x="34518" y="14209"/>
                    </a:cubicBezTo>
                    <a:lnTo>
                      <a:pt x="36886" y="1747"/>
                    </a:lnTo>
                    <a:lnTo>
                      <a:pt x="36886" y="1747"/>
                    </a:lnTo>
                    <a:lnTo>
                      <a:pt x="21434" y="1747"/>
                    </a:lnTo>
                    <a:lnTo>
                      <a:pt x="0" y="109664"/>
                    </a:lnTo>
                    <a:lnTo>
                      <a:pt x="0" y="109664"/>
                    </a:lnTo>
                    <a:lnTo>
                      <a:pt x="15826" y="109664"/>
                    </a:lnTo>
                    <a:lnTo>
                      <a:pt x="28288" y="43493"/>
                    </a:lnTo>
                    <a:cubicBezTo>
                      <a:pt x="30515" y="27438"/>
                      <a:pt x="43760" y="15183"/>
                      <a:pt x="59940" y="14209"/>
                    </a:cubicBezTo>
                    <a:cubicBezTo>
                      <a:pt x="65919" y="14072"/>
                      <a:pt x="71573" y="16922"/>
                      <a:pt x="75019" y="21810"/>
                    </a:cubicBezTo>
                    <a:lnTo>
                      <a:pt x="75019" y="21810"/>
                    </a:lnTo>
                    <a:lnTo>
                      <a:pt x="87480" y="10346"/>
                    </a:lnTo>
                    <a:lnTo>
                      <a:pt x="87480" y="10346"/>
                    </a:lnTo>
                    <a:cubicBezTo>
                      <a:pt x="81552" y="3603"/>
                      <a:pt x="72899" y="-105"/>
                      <a:pt x="63928" y="252"/>
                    </a:cubicBezTo>
                  </a:path>
                </a:pathLst>
              </a:custGeom>
              <a:grpFill/>
              <a:ln w="12419" cap="flat">
                <a:noFill/>
                <a:prstDash val="solid"/>
                <a:miter/>
              </a:ln>
            </p:spPr>
            <p:txBody>
              <a:bodyPr rtlCol="0" anchor="ctr"/>
              <a:lstStyle/>
              <a:p>
                <a:pPr rtl="0"/>
                <a:endParaRPr lang="de-CH" noProof="0" dirty="0"/>
              </a:p>
            </p:txBody>
          </p:sp>
        </p:grpSp>
        <p:sp>
          <p:nvSpPr>
            <p:cNvPr id="15" name="Freihandform: Form 14">
              <a:extLst>
                <a:ext uri="{FF2B5EF4-FFF2-40B4-BE49-F238E27FC236}">
                  <a16:creationId xmlns:a16="http://schemas.microsoft.com/office/drawing/2014/main" id="{18C24FD2-AEE2-43CA-8EB3-8E646C2E5E46}"/>
                </a:ext>
              </a:extLst>
            </p:cNvPr>
            <p:cNvSpPr/>
            <p:nvPr/>
          </p:nvSpPr>
          <p:spPr>
            <a:xfrm>
              <a:off x="1159517" y="6556560"/>
              <a:ext cx="96452" cy="108166"/>
            </a:xfrm>
            <a:custGeom>
              <a:avLst/>
              <a:gdLst>
                <a:gd name="connsiteX0" fmla="*/ 23303 w 96452"/>
                <a:gd name="connsiteY0" fmla="*/ 0 h 108166"/>
                <a:gd name="connsiteX1" fmla="*/ 20562 w 96452"/>
                <a:gd name="connsiteY1" fmla="*/ 13708 h 108166"/>
                <a:gd name="connsiteX2" fmla="*/ 20562 w 96452"/>
                <a:gd name="connsiteY2" fmla="*/ 13957 h 108166"/>
                <a:gd name="connsiteX3" fmla="*/ 74271 w 96452"/>
                <a:gd name="connsiteY3" fmla="*/ 13957 h 108166"/>
                <a:gd name="connsiteX4" fmla="*/ 2742 w 96452"/>
                <a:gd name="connsiteY4" fmla="*/ 94957 h 108166"/>
                <a:gd name="connsiteX5" fmla="*/ 2617 w 96452"/>
                <a:gd name="connsiteY5" fmla="*/ 94957 h 108166"/>
                <a:gd name="connsiteX6" fmla="*/ 0 w 96452"/>
                <a:gd name="connsiteY6" fmla="*/ 108166 h 108166"/>
                <a:gd name="connsiteX7" fmla="*/ 76265 w 96452"/>
                <a:gd name="connsiteY7" fmla="*/ 108166 h 108166"/>
                <a:gd name="connsiteX8" fmla="*/ 79006 w 96452"/>
                <a:gd name="connsiteY8" fmla="*/ 94209 h 108166"/>
                <a:gd name="connsiteX9" fmla="*/ 21932 w 96452"/>
                <a:gd name="connsiteY9" fmla="*/ 94209 h 108166"/>
                <a:gd name="connsiteX10" fmla="*/ 93835 w 96452"/>
                <a:gd name="connsiteY10" fmla="*/ 13209 h 108166"/>
                <a:gd name="connsiteX11" fmla="*/ 93835 w 96452"/>
                <a:gd name="connsiteY11" fmla="*/ 13209 h 108166"/>
                <a:gd name="connsiteX12" fmla="*/ 96452 w 96452"/>
                <a:gd name="connsiteY12" fmla="*/ 0 h 108166"/>
                <a:gd name="connsiteX13" fmla="*/ 23303 w 96452"/>
                <a:gd name="connsiteY13"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52" h="108166">
                  <a:moveTo>
                    <a:pt x="23303" y="0"/>
                  </a:moveTo>
                  <a:lnTo>
                    <a:pt x="20562" y="13708"/>
                  </a:lnTo>
                  <a:lnTo>
                    <a:pt x="20562" y="13957"/>
                  </a:lnTo>
                  <a:lnTo>
                    <a:pt x="74271" y="13957"/>
                  </a:lnTo>
                  <a:lnTo>
                    <a:pt x="2742" y="94957"/>
                  </a:lnTo>
                  <a:lnTo>
                    <a:pt x="2617" y="94957"/>
                  </a:lnTo>
                  <a:lnTo>
                    <a:pt x="0" y="108166"/>
                  </a:lnTo>
                  <a:lnTo>
                    <a:pt x="76265" y="108166"/>
                  </a:lnTo>
                  <a:lnTo>
                    <a:pt x="79006" y="94209"/>
                  </a:lnTo>
                  <a:lnTo>
                    <a:pt x="21932" y="94209"/>
                  </a:lnTo>
                  <a:lnTo>
                    <a:pt x="93835" y="13209"/>
                  </a:lnTo>
                  <a:lnTo>
                    <a:pt x="93835" y="13209"/>
                  </a:lnTo>
                  <a:lnTo>
                    <a:pt x="96452" y="0"/>
                  </a:lnTo>
                  <a:lnTo>
                    <a:pt x="23303" y="0"/>
                  </a:lnTo>
                  <a:close/>
                </a:path>
              </a:pathLst>
            </a:custGeom>
            <a:grpFill/>
            <a:ln w="12419" cap="flat">
              <a:noFill/>
              <a:prstDash val="solid"/>
              <a:miter/>
            </a:ln>
          </p:spPr>
          <p:txBody>
            <a:bodyPr rtlCol="0" anchor="ctr"/>
            <a:lstStyle/>
            <a:p>
              <a:pPr rtl="0"/>
              <a:endParaRPr lang="de-CH" noProof="0" dirty="0"/>
            </a:p>
          </p:txBody>
        </p:sp>
        <p:sp>
          <p:nvSpPr>
            <p:cNvPr id="16" name="Freihandform: Form 15">
              <a:extLst>
                <a:ext uri="{FF2B5EF4-FFF2-40B4-BE49-F238E27FC236}">
                  <a16:creationId xmlns:a16="http://schemas.microsoft.com/office/drawing/2014/main" id="{AEE7F6F4-4D2C-45B3-A061-9606B2BD36A7}"/>
                </a:ext>
              </a:extLst>
            </p:cNvPr>
            <p:cNvSpPr/>
            <p:nvPr/>
          </p:nvSpPr>
          <p:spPr>
            <a:xfrm>
              <a:off x="1466445" y="6556560"/>
              <a:ext cx="37259" cy="108166"/>
            </a:xfrm>
            <a:custGeom>
              <a:avLst/>
              <a:gdLst>
                <a:gd name="connsiteX0" fmla="*/ 21683 w 37259"/>
                <a:gd name="connsiteY0" fmla="*/ 0 h 108166"/>
                <a:gd name="connsiteX1" fmla="*/ 0 w 37259"/>
                <a:gd name="connsiteY1" fmla="*/ 107917 h 108166"/>
                <a:gd name="connsiteX2" fmla="*/ 0 w 37259"/>
                <a:gd name="connsiteY2" fmla="*/ 108166 h 108166"/>
                <a:gd name="connsiteX3" fmla="*/ 15702 w 37259"/>
                <a:gd name="connsiteY3" fmla="*/ 108166 h 108166"/>
                <a:gd name="connsiteX4" fmla="*/ 37260 w 37259"/>
                <a:gd name="connsiteY4" fmla="*/ 0 h 108166"/>
                <a:gd name="connsiteX5" fmla="*/ 21683 w 37259"/>
                <a:gd name="connsiteY5"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59" h="108166">
                  <a:moveTo>
                    <a:pt x="21683" y="0"/>
                  </a:moveTo>
                  <a:lnTo>
                    <a:pt x="0" y="107917"/>
                  </a:lnTo>
                  <a:lnTo>
                    <a:pt x="0" y="108166"/>
                  </a:lnTo>
                  <a:lnTo>
                    <a:pt x="15702" y="108166"/>
                  </a:lnTo>
                  <a:lnTo>
                    <a:pt x="37260" y="0"/>
                  </a:lnTo>
                  <a:lnTo>
                    <a:pt x="21683" y="0"/>
                  </a:lnTo>
                  <a:close/>
                </a:path>
              </a:pathLst>
            </a:custGeom>
            <a:grpFill/>
            <a:ln w="12419" cap="flat">
              <a:noFill/>
              <a:prstDash val="solid"/>
              <a:miter/>
            </a:ln>
          </p:spPr>
          <p:txBody>
            <a:bodyPr rtlCol="0" anchor="ctr"/>
            <a:lstStyle/>
            <a:p>
              <a:pPr rtl="0"/>
              <a:endParaRPr lang="de-CH" noProof="0" dirty="0"/>
            </a:p>
          </p:txBody>
        </p:sp>
        <p:grpSp>
          <p:nvGrpSpPr>
            <p:cNvPr id="17" name="Grafik 6">
              <a:extLst>
                <a:ext uri="{FF2B5EF4-FFF2-40B4-BE49-F238E27FC236}">
                  <a16:creationId xmlns:a16="http://schemas.microsoft.com/office/drawing/2014/main" id="{7F7C476A-2849-4D68-9FA2-3A5CFC13C833}"/>
                </a:ext>
              </a:extLst>
            </p:cNvPr>
            <p:cNvGrpSpPr/>
            <p:nvPr/>
          </p:nvGrpSpPr>
          <p:grpSpPr>
            <a:xfrm>
              <a:off x="1518879" y="6507337"/>
              <a:ext cx="191395" cy="158803"/>
              <a:chOff x="1518879" y="6507337"/>
              <a:chExt cx="191395" cy="158803"/>
            </a:xfrm>
            <a:grpFill/>
          </p:grpSpPr>
          <p:sp>
            <p:nvSpPr>
              <p:cNvPr id="18" name="Freihandform: Form 17">
                <a:extLst>
                  <a:ext uri="{FF2B5EF4-FFF2-40B4-BE49-F238E27FC236}">
                    <a16:creationId xmlns:a16="http://schemas.microsoft.com/office/drawing/2014/main" id="{B2186F78-5D28-4695-8B1C-5A3F1A53AAB3}"/>
                  </a:ext>
                </a:extLst>
              </p:cNvPr>
              <p:cNvSpPr/>
              <p:nvPr/>
            </p:nvSpPr>
            <p:spPr>
              <a:xfrm>
                <a:off x="1614114" y="6507337"/>
                <a:ext cx="96160" cy="157638"/>
              </a:xfrm>
              <a:custGeom>
                <a:avLst/>
                <a:gdLst>
                  <a:gd name="connsiteX0" fmla="*/ 66046 w 96160"/>
                  <a:gd name="connsiteY0" fmla="*/ 47852 h 157638"/>
                  <a:gd name="connsiteX1" fmla="*/ 35142 w 96160"/>
                  <a:gd name="connsiteY1" fmla="*/ 60314 h 157638"/>
                  <a:gd name="connsiteX2" fmla="*/ 47603 w 96160"/>
                  <a:gd name="connsiteY2" fmla="*/ 0 h 157638"/>
                  <a:gd name="connsiteX3" fmla="*/ 31652 w 96160"/>
                  <a:gd name="connsiteY3" fmla="*/ 0 h 157638"/>
                  <a:gd name="connsiteX4" fmla="*/ 0 w 96160"/>
                  <a:gd name="connsiteY4" fmla="*/ 157389 h 157638"/>
                  <a:gd name="connsiteX5" fmla="*/ 15701 w 96160"/>
                  <a:gd name="connsiteY5" fmla="*/ 157389 h 157638"/>
                  <a:gd name="connsiteX6" fmla="*/ 28911 w 96160"/>
                  <a:gd name="connsiteY6" fmla="*/ 91218 h 157638"/>
                  <a:gd name="connsiteX7" fmla="*/ 60563 w 96160"/>
                  <a:gd name="connsiteY7" fmla="*/ 62058 h 157638"/>
                  <a:gd name="connsiteX8" fmla="*/ 79837 w 96160"/>
                  <a:gd name="connsiteY8" fmla="*/ 77742 h 157638"/>
                  <a:gd name="connsiteX9" fmla="*/ 79878 w 96160"/>
                  <a:gd name="connsiteY9" fmla="*/ 80875 h 157638"/>
                  <a:gd name="connsiteX10" fmla="*/ 78757 w 96160"/>
                  <a:gd name="connsiteY10" fmla="*/ 90969 h 157638"/>
                  <a:gd name="connsiteX11" fmla="*/ 65423 w 96160"/>
                  <a:gd name="connsiteY11" fmla="*/ 157638 h 157638"/>
                  <a:gd name="connsiteX12" fmla="*/ 81125 w 96160"/>
                  <a:gd name="connsiteY12" fmla="*/ 157638 h 157638"/>
                  <a:gd name="connsiteX13" fmla="*/ 94957 w 96160"/>
                  <a:gd name="connsiteY13" fmla="*/ 89474 h 157638"/>
                  <a:gd name="connsiteX14" fmla="*/ 96078 w 96160"/>
                  <a:gd name="connsiteY14" fmla="*/ 78757 h 157638"/>
                  <a:gd name="connsiteX15" fmla="*/ 69522 w 96160"/>
                  <a:gd name="connsiteY15" fmla="*/ 47902 h 157638"/>
                  <a:gd name="connsiteX16" fmla="*/ 66046 w 96160"/>
                  <a:gd name="connsiteY16" fmla="*/ 47852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160" h="157638">
                    <a:moveTo>
                      <a:pt x="66046" y="47852"/>
                    </a:moveTo>
                    <a:cubicBezTo>
                      <a:pt x="54431" y="47363"/>
                      <a:pt x="43168" y="51904"/>
                      <a:pt x="35142" y="60314"/>
                    </a:cubicBezTo>
                    <a:lnTo>
                      <a:pt x="47603" y="0"/>
                    </a:lnTo>
                    <a:lnTo>
                      <a:pt x="31652" y="0"/>
                    </a:lnTo>
                    <a:lnTo>
                      <a:pt x="0" y="157389"/>
                    </a:lnTo>
                    <a:lnTo>
                      <a:pt x="15701" y="157389"/>
                    </a:lnTo>
                    <a:lnTo>
                      <a:pt x="28911" y="91218"/>
                    </a:lnTo>
                    <a:cubicBezTo>
                      <a:pt x="30603" y="74910"/>
                      <a:pt x="44170" y="62411"/>
                      <a:pt x="60563" y="62058"/>
                    </a:cubicBezTo>
                    <a:cubicBezTo>
                      <a:pt x="70216" y="61067"/>
                      <a:pt x="78845" y="68088"/>
                      <a:pt x="79837" y="77742"/>
                    </a:cubicBezTo>
                    <a:cubicBezTo>
                      <a:pt x="79945" y="78783"/>
                      <a:pt x="79958" y="79832"/>
                      <a:pt x="79878" y="80875"/>
                    </a:cubicBezTo>
                    <a:cubicBezTo>
                      <a:pt x="79822" y="84268"/>
                      <a:pt x="79446" y="87647"/>
                      <a:pt x="78757" y="90969"/>
                    </a:cubicBezTo>
                    <a:lnTo>
                      <a:pt x="65423" y="157638"/>
                    </a:lnTo>
                    <a:lnTo>
                      <a:pt x="81125" y="157638"/>
                    </a:lnTo>
                    <a:lnTo>
                      <a:pt x="94957" y="89474"/>
                    </a:lnTo>
                    <a:cubicBezTo>
                      <a:pt x="95657" y="85943"/>
                      <a:pt x="96034" y="82356"/>
                      <a:pt x="96078" y="78757"/>
                    </a:cubicBezTo>
                    <a:cubicBezTo>
                      <a:pt x="97265" y="62903"/>
                      <a:pt x="85375" y="49089"/>
                      <a:pt x="69522" y="47902"/>
                    </a:cubicBezTo>
                    <a:cubicBezTo>
                      <a:pt x="68365" y="47815"/>
                      <a:pt x="67205" y="47799"/>
                      <a:pt x="66046" y="47852"/>
                    </a:cubicBezTo>
                  </a:path>
                </a:pathLst>
              </a:custGeom>
              <a:grpFill/>
              <a:ln w="12419" cap="flat">
                <a:noFill/>
                <a:prstDash val="solid"/>
                <a:miter/>
              </a:ln>
            </p:spPr>
            <p:txBody>
              <a:bodyPr rtlCol="0" anchor="ctr"/>
              <a:lstStyle/>
              <a:p>
                <a:pPr rtl="0"/>
                <a:endParaRPr lang="de-CH" noProof="0" dirty="0"/>
              </a:p>
            </p:txBody>
          </p:sp>
          <p:sp>
            <p:nvSpPr>
              <p:cNvPr id="19" name="Freihandform: Form 18">
                <a:extLst>
                  <a:ext uri="{FF2B5EF4-FFF2-40B4-BE49-F238E27FC236}">
                    <a16:creationId xmlns:a16="http://schemas.microsoft.com/office/drawing/2014/main" id="{1FE5475E-83C3-4BE3-BBF1-FAE9A6986B3F}"/>
                  </a:ext>
                </a:extLst>
              </p:cNvPr>
              <p:cNvSpPr/>
              <p:nvPr/>
            </p:nvSpPr>
            <p:spPr>
              <a:xfrm>
                <a:off x="1518879" y="6555189"/>
                <a:ext cx="87882" cy="110951"/>
              </a:xfrm>
              <a:custGeom>
                <a:avLst/>
                <a:gdLst>
                  <a:gd name="connsiteX0" fmla="*/ 56853 w 87882"/>
                  <a:gd name="connsiteY0" fmla="*/ 0 h 110951"/>
                  <a:gd name="connsiteX1" fmla="*/ 1649 w 87882"/>
                  <a:gd name="connsiteY1" fmla="*/ 55329 h 110951"/>
                  <a:gd name="connsiteX2" fmla="*/ 153 w 87882"/>
                  <a:gd name="connsiteY2" fmla="*/ 71903 h 110951"/>
                  <a:gd name="connsiteX3" fmla="*/ 32484 w 87882"/>
                  <a:gd name="connsiteY3" fmla="*/ 110801 h 110951"/>
                  <a:gd name="connsiteX4" fmla="*/ 37538 w 87882"/>
                  <a:gd name="connsiteY4" fmla="*/ 110908 h 110951"/>
                  <a:gd name="connsiteX5" fmla="*/ 73552 w 87882"/>
                  <a:gd name="connsiteY5" fmla="*/ 95705 h 110951"/>
                  <a:gd name="connsiteX6" fmla="*/ 73552 w 87882"/>
                  <a:gd name="connsiteY6" fmla="*/ 95705 h 110951"/>
                  <a:gd name="connsiteX7" fmla="*/ 64455 w 87882"/>
                  <a:gd name="connsiteY7" fmla="*/ 84614 h 110951"/>
                  <a:gd name="connsiteX8" fmla="*/ 64455 w 87882"/>
                  <a:gd name="connsiteY8" fmla="*/ 84614 h 110951"/>
                  <a:gd name="connsiteX9" fmla="*/ 64455 w 87882"/>
                  <a:gd name="connsiteY9" fmla="*/ 84614 h 110951"/>
                  <a:gd name="connsiteX10" fmla="*/ 38535 w 87882"/>
                  <a:gd name="connsiteY10" fmla="*/ 97075 h 110951"/>
                  <a:gd name="connsiteX11" fmla="*/ 15233 w 87882"/>
                  <a:gd name="connsiteY11" fmla="*/ 75551 h 110951"/>
                  <a:gd name="connsiteX12" fmla="*/ 15356 w 87882"/>
                  <a:gd name="connsiteY12" fmla="*/ 72152 h 110951"/>
                  <a:gd name="connsiteX13" fmla="*/ 17101 w 87882"/>
                  <a:gd name="connsiteY13" fmla="*/ 55952 h 110951"/>
                  <a:gd name="connsiteX14" fmla="*/ 31058 w 87882"/>
                  <a:gd name="connsiteY14" fmla="*/ 25048 h 110951"/>
                  <a:gd name="connsiteX15" fmla="*/ 55233 w 87882"/>
                  <a:gd name="connsiteY15" fmla="*/ 14206 h 110951"/>
                  <a:gd name="connsiteX16" fmla="*/ 76293 w 87882"/>
                  <a:gd name="connsiteY16" fmla="*/ 26668 h 110951"/>
                  <a:gd name="connsiteX17" fmla="*/ 76293 w 87882"/>
                  <a:gd name="connsiteY17" fmla="*/ 26668 h 110951"/>
                  <a:gd name="connsiteX18" fmla="*/ 87883 w 87882"/>
                  <a:gd name="connsiteY18" fmla="*/ 16823 h 110951"/>
                  <a:gd name="connsiteX19" fmla="*/ 87883 w 87882"/>
                  <a:gd name="connsiteY19" fmla="*/ 16823 h 110951"/>
                  <a:gd name="connsiteX20" fmla="*/ 56729 w 87882"/>
                  <a:gd name="connsiteY20" fmla="*/ 748 h 1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7882" h="110951">
                    <a:moveTo>
                      <a:pt x="56853" y="0"/>
                    </a:moveTo>
                    <a:cubicBezTo>
                      <a:pt x="28192" y="0"/>
                      <a:pt x="8129" y="20188"/>
                      <a:pt x="1649" y="55329"/>
                    </a:cubicBezTo>
                    <a:cubicBezTo>
                      <a:pt x="671" y="60800"/>
                      <a:pt x="170" y="66345"/>
                      <a:pt x="153" y="71903"/>
                    </a:cubicBezTo>
                    <a:cubicBezTo>
                      <a:pt x="-1660" y="91572"/>
                      <a:pt x="12814" y="108987"/>
                      <a:pt x="32484" y="110801"/>
                    </a:cubicBezTo>
                    <a:cubicBezTo>
                      <a:pt x="34163" y="110955"/>
                      <a:pt x="35853" y="110991"/>
                      <a:pt x="37538" y="110908"/>
                    </a:cubicBezTo>
                    <a:cubicBezTo>
                      <a:pt x="51112" y="110955"/>
                      <a:pt x="64118" y="105465"/>
                      <a:pt x="73552" y="95705"/>
                    </a:cubicBezTo>
                    <a:lnTo>
                      <a:pt x="73552" y="95705"/>
                    </a:lnTo>
                    <a:lnTo>
                      <a:pt x="64455" y="84614"/>
                    </a:lnTo>
                    <a:lnTo>
                      <a:pt x="64455" y="84614"/>
                    </a:lnTo>
                    <a:lnTo>
                      <a:pt x="64455" y="84614"/>
                    </a:lnTo>
                    <a:cubicBezTo>
                      <a:pt x="58138" y="92466"/>
                      <a:pt x="48613" y="97045"/>
                      <a:pt x="38535" y="97075"/>
                    </a:cubicBezTo>
                    <a:cubicBezTo>
                      <a:pt x="26157" y="97566"/>
                      <a:pt x="15724" y="87929"/>
                      <a:pt x="15233" y="75551"/>
                    </a:cubicBezTo>
                    <a:cubicBezTo>
                      <a:pt x="15188" y="74416"/>
                      <a:pt x="15229" y="73280"/>
                      <a:pt x="15356" y="72152"/>
                    </a:cubicBezTo>
                    <a:cubicBezTo>
                      <a:pt x="15424" y="66709"/>
                      <a:pt x="16008" y="61285"/>
                      <a:pt x="17101" y="55952"/>
                    </a:cubicBezTo>
                    <a:cubicBezTo>
                      <a:pt x="18838" y="44568"/>
                      <a:pt x="23666" y="33878"/>
                      <a:pt x="31058" y="25048"/>
                    </a:cubicBezTo>
                    <a:cubicBezTo>
                      <a:pt x="37213" y="18167"/>
                      <a:pt x="46002" y="14225"/>
                      <a:pt x="55233" y="14206"/>
                    </a:cubicBezTo>
                    <a:cubicBezTo>
                      <a:pt x="64085" y="13892"/>
                      <a:pt x="72308" y="18758"/>
                      <a:pt x="76293" y="26668"/>
                    </a:cubicBezTo>
                    <a:lnTo>
                      <a:pt x="76293" y="26668"/>
                    </a:lnTo>
                    <a:lnTo>
                      <a:pt x="87883" y="16823"/>
                    </a:lnTo>
                    <a:lnTo>
                      <a:pt x="87883" y="16823"/>
                    </a:lnTo>
                    <a:cubicBezTo>
                      <a:pt x="81104" y="6298"/>
                      <a:pt x="69235" y="174"/>
                      <a:pt x="56729" y="748"/>
                    </a:cubicBezTo>
                  </a:path>
                </a:pathLst>
              </a:custGeom>
              <a:grpFill/>
              <a:ln w="12419" cap="flat">
                <a:noFill/>
                <a:prstDash val="solid"/>
                <a:miter/>
              </a:ln>
            </p:spPr>
            <p:txBody>
              <a:bodyPr rtlCol="0" anchor="ctr"/>
              <a:lstStyle/>
              <a:p>
                <a:pPr rtl="0"/>
                <a:endParaRPr lang="de-CH" noProof="0" dirty="0"/>
              </a:p>
            </p:txBody>
          </p:sp>
        </p:grpSp>
        <p:sp>
          <p:nvSpPr>
            <p:cNvPr id="20" name="Freihandform: Form 19">
              <a:extLst>
                <a:ext uri="{FF2B5EF4-FFF2-40B4-BE49-F238E27FC236}">
                  <a16:creationId xmlns:a16="http://schemas.microsoft.com/office/drawing/2014/main" id="{41B77B6E-E7CB-412B-95AC-A9322C6799BB}"/>
                </a:ext>
              </a:extLst>
            </p:cNvPr>
            <p:cNvSpPr/>
            <p:nvPr/>
          </p:nvSpPr>
          <p:spPr>
            <a:xfrm>
              <a:off x="1493985"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1" name="Freihandform: Form 20">
              <a:extLst>
                <a:ext uri="{FF2B5EF4-FFF2-40B4-BE49-F238E27FC236}">
                  <a16:creationId xmlns:a16="http://schemas.microsoft.com/office/drawing/2014/main" id="{832E5C1A-13CE-49A6-B590-B6EAA5F9E1AD}"/>
                </a:ext>
              </a:extLst>
            </p:cNvPr>
            <p:cNvSpPr/>
            <p:nvPr/>
          </p:nvSpPr>
          <p:spPr>
            <a:xfrm>
              <a:off x="1340708"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2" name="Freihandform: Form 21">
              <a:extLst>
                <a:ext uri="{FF2B5EF4-FFF2-40B4-BE49-F238E27FC236}">
                  <a16:creationId xmlns:a16="http://schemas.microsoft.com/office/drawing/2014/main" id="{63AE00B0-780F-4053-8FE9-B7D321217AFF}"/>
                </a:ext>
              </a:extLst>
            </p:cNvPr>
            <p:cNvSpPr/>
            <p:nvPr/>
          </p:nvSpPr>
          <p:spPr>
            <a:xfrm>
              <a:off x="1298712" y="6507088"/>
              <a:ext cx="19689" cy="19689"/>
            </a:xfrm>
            <a:custGeom>
              <a:avLst/>
              <a:gdLst>
                <a:gd name="connsiteX0" fmla="*/ 3988 w 19689"/>
                <a:gd name="connsiteY0" fmla="*/ 0 h 19689"/>
                <a:gd name="connsiteX1" fmla="*/ 0 w 19689"/>
                <a:gd name="connsiteY1" fmla="*/ 19689 h 19689"/>
                <a:gd name="connsiteX2" fmla="*/ 15702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702"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3" name="Freihandform: Form 22">
              <a:extLst>
                <a:ext uri="{FF2B5EF4-FFF2-40B4-BE49-F238E27FC236}">
                  <a16:creationId xmlns:a16="http://schemas.microsoft.com/office/drawing/2014/main" id="{2406CEAF-7399-4CCB-A322-03F0BA2532F5}"/>
                </a:ext>
              </a:extLst>
            </p:cNvPr>
            <p:cNvSpPr/>
            <p:nvPr/>
          </p:nvSpPr>
          <p:spPr>
            <a:xfrm>
              <a:off x="731837" y="6507088"/>
              <a:ext cx="417960" cy="157638"/>
            </a:xfrm>
            <a:custGeom>
              <a:avLst/>
              <a:gdLst>
                <a:gd name="connsiteX0" fmla="*/ 368612 w 417960"/>
                <a:gd name="connsiteY0" fmla="*/ 0 h 157638"/>
                <a:gd name="connsiteX1" fmla="*/ 356151 w 417960"/>
                <a:gd name="connsiteY1" fmla="*/ 61062 h 157638"/>
                <a:gd name="connsiteX2" fmla="*/ 320760 w 417960"/>
                <a:gd name="connsiteY2" fmla="*/ 61062 h 157638"/>
                <a:gd name="connsiteX3" fmla="*/ 333222 w 417960"/>
                <a:gd name="connsiteY3" fmla="*/ 0 h 157638"/>
                <a:gd name="connsiteX4" fmla="*/ 31652 w 417960"/>
                <a:gd name="connsiteY4" fmla="*/ 0 h 157638"/>
                <a:gd name="connsiteX5" fmla="*/ 0 w 417960"/>
                <a:gd name="connsiteY5" fmla="*/ 157638 h 157638"/>
                <a:gd name="connsiteX6" fmla="*/ 120254 w 417960"/>
                <a:gd name="connsiteY6" fmla="*/ 157638 h 157638"/>
                <a:gd name="connsiteX7" fmla="*/ 128105 w 417960"/>
                <a:gd name="connsiteY7" fmla="*/ 118260 h 157638"/>
                <a:gd name="connsiteX8" fmla="*/ 57074 w 417960"/>
                <a:gd name="connsiteY8" fmla="*/ 118260 h 157638"/>
                <a:gd name="connsiteX9" fmla="*/ 61435 w 417960"/>
                <a:gd name="connsiteY9" fmla="*/ 96577 h 157638"/>
                <a:gd name="connsiteX10" fmla="*/ 132342 w 417960"/>
                <a:gd name="connsiteY10" fmla="*/ 96577 h 157638"/>
                <a:gd name="connsiteX11" fmla="*/ 139569 w 417960"/>
                <a:gd name="connsiteY11" fmla="*/ 61062 h 157638"/>
                <a:gd name="connsiteX12" fmla="*/ 68538 w 417960"/>
                <a:gd name="connsiteY12" fmla="*/ 61062 h 157638"/>
                <a:gd name="connsiteX13" fmla="*/ 72900 w 417960"/>
                <a:gd name="connsiteY13" fmla="*/ 39378 h 157638"/>
                <a:gd name="connsiteX14" fmla="*/ 185303 w 417960"/>
                <a:gd name="connsiteY14" fmla="*/ 39378 h 157638"/>
                <a:gd name="connsiteX15" fmla="*/ 161626 w 417960"/>
                <a:gd name="connsiteY15" fmla="*/ 157638 h 157638"/>
                <a:gd name="connsiteX16" fmla="*/ 210849 w 417960"/>
                <a:gd name="connsiteY16" fmla="*/ 157638 h 157638"/>
                <a:gd name="connsiteX17" fmla="*/ 234651 w 417960"/>
                <a:gd name="connsiteY17" fmla="*/ 39378 h 157638"/>
                <a:gd name="connsiteX18" fmla="*/ 276023 w 417960"/>
                <a:gd name="connsiteY18" fmla="*/ 39378 h 157638"/>
                <a:gd name="connsiteX19" fmla="*/ 252222 w 417960"/>
                <a:gd name="connsiteY19" fmla="*/ 157638 h 157638"/>
                <a:gd name="connsiteX20" fmla="*/ 301569 w 417960"/>
                <a:gd name="connsiteY20" fmla="*/ 157638 h 157638"/>
                <a:gd name="connsiteX21" fmla="*/ 313657 w 417960"/>
                <a:gd name="connsiteY21" fmla="*/ 96577 h 157638"/>
                <a:gd name="connsiteX22" fmla="*/ 349172 w 417960"/>
                <a:gd name="connsiteY22" fmla="*/ 96577 h 157638"/>
                <a:gd name="connsiteX23" fmla="*/ 336960 w 417960"/>
                <a:gd name="connsiteY23" fmla="*/ 157638 h 157638"/>
                <a:gd name="connsiteX24" fmla="*/ 386308 w 417960"/>
                <a:gd name="connsiteY24" fmla="*/ 157638 h 157638"/>
                <a:gd name="connsiteX25" fmla="*/ 417960 w 417960"/>
                <a:gd name="connsiteY25" fmla="*/ 0 h 157638"/>
                <a:gd name="connsiteX26" fmla="*/ 368612 w 417960"/>
                <a:gd name="connsiteY26" fmla="*/ 0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7960" h="157638">
                  <a:moveTo>
                    <a:pt x="368612" y="0"/>
                  </a:moveTo>
                  <a:lnTo>
                    <a:pt x="356151" y="61062"/>
                  </a:lnTo>
                  <a:lnTo>
                    <a:pt x="320760" y="61062"/>
                  </a:lnTo>
                  <a:lnTo>
                    <a:pt x="333222" y="0"/>
                  </a:lnTo>
                  <a:lnTo>
                    <a:pt x="31652" y="0"/>
                  </a:lnTo>
                  <a:lnTo>
                    <a:pt x="0" y="157638"/>
                  </a:lnTo>
                  <a:lnTo>
                    <a:pt x="120254" y="157638"/>
                  </a:lnTo>
                  <a:lnTo>
                    <a:pt x="128105" y="118260"/>
                  </a:lnTo>
                  <a:lnTo>
                    <a:pt x="57074" y="118260"/>
                  </a:lnTo>
                  <a:lnTo>
                    <a:pt x="61435" y="96577"/>
                  </a:lnTo>
                  <a:lnTo>
                    <a:pt x="132342" y="96577"/>
                  </a:lnTo>
                  <a:lnTo>
                    <a:pt x="139569" y="61062"/>
                  </a:lnTo>
                  <a:lnTo>
                    <a:pt x="68538" y="61062"/>
                  </a:lnTo>
                  <a:lnTo>
                    <a:pt x="72900" y="39378"/>
                  </a:lnTo>
                  <a:lnTo>
                    <a:pt x="185303" y="39378"/>
                  </a:lnTo>
                  <a:lnTo>
                    <a:pt x="161626" y="157638"/>
                  </a:lnTo>
                  <a:lnTo>
                    <a:pt x="210849" y="157638"/>
                  </a:lnTo>
                  <a:lnTo>
                    <a:pt x="234651" y="39378"/>
                  </a:lnTo>
                  <a:lnTo>
                    <a:pt x="276023" y="39378"/>
                  </a:lnTo>
                  <a:lnTo>
                    <a:pt x="252222" y="157638"/>
                  </a:lnTo>
                  <a:lnTo>
                    <a:pt x="301569" y="157638"/>
                  </a:lnTo>
                  <a:lnTo>
                    <a:pt x="313657" y="96577"/>
                  </a:lnTo>
                  <a:lnTo>
                    <a:pt x="349172" y="96577"/>
                  </a:lnTo>
                  <a:lnTo>
                    <a:pt x="336960" y="157638"/>
                  </a:lnTo>
                  <a:lnTo>
                    <a:pt x="386308" y="157638"/>
                  </a:lnTo>
                  <a:lnTo>
                    <a:pt x="417960" y="0"/>
                  </a:lnTo>
                  <a:lnTo>
                    <a:pt x="368612" y="0"/>
                  </a:lnTo>
                  <a:close/>
                </a:path>
              </a:pathLst>
            </a:custGeom>
            <a:grpFill/>
            <a:ln w="12419" cap="flat">
              <a:noFill/>
              <a:prstDash val="solid"/>
              <a:miter/>
            </a:ln>
          </p:spPr>
          <p:txBody>
            <a:bodyPr rtlCol="0" anchor="ctr"/>
            <a:lstStyle/>
            <a:p>
              <a:pPr rtl="0"/>
              <a:endParaRPr lang="de-CH" noProof="0" dirty="0"/>
            </a:p>
          </p:txBody>
        </p:sp>
      </p:grpSp>
    </p:spTree>
    <p:extLst>
      <p:ext uri="{BB962C8B-B14F-4D97-AF65-F5344CB8AC3E}">
        <p14:creationId xmlns:p14="http://schemas.microsoft.com/office/powerpoint/2010/main" val="2516526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halt Bi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DC04BC0-B0BC-CB5C-89E8-82CAF84F6354}"/>
              </a:ext>
            </a:extLst>
          </p:cNvPr>
          <p:cNvGraphicFramePr>
            <a:graphicFrameLocks noChangeAspect="1"/>
          </p:cNvGraphicFramePr>
          <p:nvPr userDrawn="1">
            <p:custDataLst>
              <p:tags r:id="rId1"/>
            </p:custDataLst>
            <p:extLst>
              <p:ext uri="{D42A27DB-BD31-4B8C-83A1-F6EECF244321}">
                <p14:modId xmlns:p14="http://schemas.microsoft.com/office/powerpoint/2010/main" val="994149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4DC04BC0-B0BC-CB5C-89E8-82CAF84F63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7F5FE7AB-232A-467F-88EF-A191B37DCBD8}"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1412874"/>
            <a:ext cx="10728000" cy="4860000"/>
          </a:xfrm>
        </p:spPr>
        <p:txBody>
          <a:bodyPr tIns="162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8706311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Bild full p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53FE21-E72D-06E4-7A05-286D3BCEADDB}"/>
              </a:ext>
            </a:extLst>
          </p:cNvPr>
          <p:cNvGraphicFramePr>
            <a:graphicFrameLocks noChangeAspect="1"/>
          </p:cNvGraphicFramePr>
          <p:nvPr userDrawn="1">
            <p:custDataLst>
              <p:tags r:id="rId1"/>
            </p:custDataLst>
            <p:extLst>
              <p:ext uri="{D42A27DB-BD31-4B8C-83A1-F6EECF244321}">
                <p14:modId xmlns:p14="http://schemas.microsoft.com/office/powerpoint/2010/main" val="2760865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A153FE21-E72D-06E4-7A05-286D3BCEAD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CE316B93-46B7-4486-82E2-7594F87333D7}"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05941150-30DE-48F5-9038-0E82CD18DE28}"/>
              </a:ext>
            </a:extLst>
          </p:cNvPr>
          <p:cNvSpPr>
            <a:spLocks noGrp="1"/>
          </p:cNvSpPr>
          <p:nvPr>
            <p:ph type="pic" sz="quarter" idx="13" hasCustomPrompt="1"/>
          </p:nvPr>
        </p:nvSpPr>
        <p:spPr>
          <a:xfrm>
            <a:off x="731837" y="260350"/>
            <a:ext cx="10728000" cy="6012524"/>
          </a:xfrm>
        </p:spPr>
        <p:txBody>
          <a:bodyPr tIns="216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2996574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Inhalt zwei Spalte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34FDD1A-9E9C-43F8-49EE-611996F4D8DC}"/>
              </a:ext>
            </a:extLst>
          </p:cNvPr>
          <p:cNvGraphicFramePr>
            <a:graphicFrameLocks noChangeAspect="1"/>
          </p:cNvGraphicFramePr>
          <p:nvPr userDrawn="1">
            <p:custDataLst>
              <p:tags r:id="rId1"/>
            </p:custDataLst>
            <p:extLst>
              <p:ext uri="{D42A27DB-BD31-4B8C-83A1-F6EECF244321}">
                <p14:modId xmlns:p14="http://schemas.microsoft.com/office/powerpoint/2010/main" val="3663902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F34FDD1A-9E9C-43F8-49EE-611996F4D8D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6204163" y="1412875"/>
            <a:ext cx="5256000" cy="4860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F08031DD-33C3-4C53-A02E-B51D31866806}"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040000" cy="4860000"/>
          </a:xfrm>
        </p:spPr>
        <p:txBody>
          <a:bodyPr tIns="162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3030196718"/>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0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4ACFB11-02C2-93C8-0231-17EB5B054693}"/>
              </a:ext>
            </a:extLst>
          </p:cNvPr>
          <p:cNvGraphicFramePr>
            <a:graphicFrameLocks noChangeAspect="1"/>
          </p:cNvGraphicFramePr>
          <p:nvPr userDrawn="1">
            <p:custDataLst>
              <p:tags r:id="rId1"/>
            </p:custDataLst>
            <p:extLst>
              <p:ext uri="{D42A27DB-BD31-4B8C-83A1-F6EECF244321}">
                <p14:modId xmlns:p14="http://schemas.microsoft.com/office/powerpoint/2010/main" val="3087482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E4ACFB11-02C2-93C8-0231-17EB5B0546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62D94F76-218E-49F2-87F8-05982912ED18}"/>
              </a:ext>
            </a:extLst>
          </p:cNvPr>
          <p:cNvSpPr/>
          <p:nvPr userDrawn="1"/>
        </p:nvSpPr>
        <p:spPr>
          <a:xfrm>
            <a:off x="731838" y="1016000"/>
            <a:ext cx="10728325" cy="5257800"/>
          </a:xfrm>
          <a:prstGeom prst="rect">
            <a:avLst/>
          </a:prstGeom>
          <a:solidFill>
            <a:srgbClr val="485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1" y="1940405"/>
            <a:ext cx="10188000" cy="3420000"/>
          </a:xfrm>
          <a:solidFill>
            <a:srgbClr val="72791C"/>
          </a:solidFill>
          <a:ln>
            <a:noFill/>
          </a:ln>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7" name="Textplatzhalter 3">
            <a:extLst>
              <a:ext uri="{FF2B5EF4-FFF2-40B4-BE49-F238E27FC236}">
                <a16:creationId xmlns:a16="http://schemas.microsoft.com/office/drawing/2014/main" id="{0503E57F-F89F-431B-8D38-7CC97B7C201A}"/>
              </a:ext>
            </a:extLst>
          </p:cNvPr>
          <p:cNvSpPr>
            <a:spLocks noGrp="1"/>
          </p:cNvSpPr>
          <p:nvPr>
            <p:ph type="body" sz="quarter" idx="13" hasCustomPrompt="1"/>
          </p:nvPr>
        </p:nvSpPr>
        <p:spPr>
          <a:xfrm>
            <a:off x="1078516" y="4217884"/>
            <a:ext cx="864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2" name="Bildplatzhalter 8">
            <a:extLst>
              <a:ext uri="{FF2B5EF4-FFF2-40B4-BE49-F238E27FC236}">
                <a16:creationId xmlns:a16="http://schemas.microsoft.com/office/drawing/2014/main" id="{1BEB6197-C509-4752-B57E-CEE955F5D926}"/>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8" name="Textplatzhalter 5">
            <a:extLst>
              <a:ext uri="{FF2B5EF4-FFF2-40B4-BE49-F238E27FC236}">
                <a16:creationId xmlns:a16="http://schemas.microsoft.com/office/drawing/2014/main" id="{4ADF7DEC-21BD-45CA-9E91-B9F58A69F621}"/>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3924069494"/>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Inhalt 2 Bilder">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D8CE8ED-C5D7-2E67-6534-6EF93D703418}"/>
              </a:ext>
            </a:extLst>
          </p:cNvPr>
          <p:cNvGraphicFramePr>
            <a:graphicFrameLocks noChangeAspect="1"/>
          </p:cNvGraphicFramePr>
          <p:nvPr userDrawn="1">
            <p:custDataLst>
              <p:tags r:id="rId1"/>
            </p:custDataLst>
            <p:extLst>
              <p:ext uri="{D42A27DB-BD31-4B8C-83A1-F6EECF244321}">
                <p14:modId xmlns:p14="http://schemas.microsoft.com/office/powerpoint/2010/main" val="31484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FD8CE8ED-C5D7-2E67-6534-6EF93D7034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5121800"/>
            <a:ext cx="5255999" cy="1152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AF2D0E7A-F077-48E7-8628-A948234ADC6E}"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5256000" cy="3420000"/>
          </a:xfrm>
        </p:spPr>
        <p:txBody>
          <a:bodyPr tIns="900000"/>
          <a:lstStyle>
            <a:lvl1pPr marL="0" indent="0" algn="ctr" rtl="0">
              <a:buNone/>
              <a:defRPr/>
            </a:lvl1pPr>
          </a:lstStyle>
          <a:p>
            <a:r>
              <a:rPr lang="de-CH" noProof="0"/>
              <a:t>Bild durch Klicken auf Symbol hinzufügen</a:t>
            </a:r>
            <a:endParaRPr lang="de-CH" noProof="0" dirty="0"/>
          </a:p>
        </p:txBody>
      </p:sp>
      <p:sp>
        <p:nvSpPr>
          <p:cNvPr id="9" name="Bildplatzhalter 10">
            <a:extLst>
              <a:ext uri="{FF2B5EF4-FFF2-40B4-BE49-F238E27FC236}">
                <a16:creationId xmlns:a16="http://schemas.microsoft.com/office/drawing/2014/main" id="{1AAB6914-2518-430D-BF4C-14EA51B61410}"/>
              </a:ext>
            </a:extLst>
          </p:cNvPr>
          <p:cNvSpPr>
            <a:spLocks noGrp="1"/>
          </p:cNvSpPr>
          <p:nvPr>
            <p:ph type="pic" sz="quarter" idx="14" hasCustomPrompt="1"/>
          </p:nvPr>
        </p:nvSpPr>
        <p:spPr>
          <a:xfrm>
            <a:off x="6204162" y="1412875"/>
            <a:ext cx="5256000" cy="3420000"/>
          </a:xfrm>
        </p:spPr>
        <p:txBody>
          <a:bodyPr tIns="900000"/>
          <a:lstStyle>
            <a:lvl1pPr marL="0" indent="0" algn="ctr" rtl="0">
              <a:buNone/>
              <a:defRPr/>
            </a:lvl1pPr>
          </a:lstStyle>
          <a:p>
            <a:r>
              <a:rPr lang="de-CH" noProof="0"/>
              <a:t>Bild durch Klicken auf Symbol hinzufügen</a:t>
            </a:r>
            <a:endParaRPr lang="de-CH" noProof="0" dirty="0"/>
          </a:p>
        </p:txBody>
      </p:sp>
      <p:sp>
        <p:nvSpPr>
          <p:cNvPr id="12" name="Inhaltsplatzhalter 2">
            <a:extLst>
              <a:ext uri="{FF2B5EF4-FFF2-40B4-BE49-F238E27FC236}">
                <a16:creationId xmlns:a16="http://schemas.microsoft.com/office/drawing/2014/main" id="{5092EEFB-079B-4C38-A665-E52B9837601B}"/>
              </a:ext>
            </a:extLst>
          </p:cNvPr>
          <p:cNvSpPr>
            <a:spLocks noGrp="1"/>
          </p:cNvSpPr>
          <p:nvPr>
            <p:ph idx="15" hasCustomPrompt="1"/>
          </p:nvPr>
        </p:nvSpPr>
        <p:spPr>
          <a:xfrm>
            <a:off x="6204162" y="5121800"/>
            <a:ext cx="5256001" cy="1152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Tree>
    <p:extLst>
      <p:ext uri="{BB962C8B-B14F-4D97-AF65-F5344CB8AC3E}">
        <p14:creationId xmlns:p14="http://schemas.microsoft.com/office/powerpoint/2010/main" val="3016386643"/>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Inhalt 3 Bild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C7C215CA-7C36-65CF-4F4F-15FFDD722E3E}"/>
              </a:ext>
            </a:extLst>
          </p:cNvPr>
          <p:cNvGraphicFramePr>
            <a:graphicFrameLocks noChangeAspect="1"/>
          </p:cNvGraphicFramePr>
          <p:nvPr userDrawn="1">
            <p:custDataLst>
              <p:tags r:id="rId1"/>
            </p:custDataLst>
            <p:extLst>
              <p:ext uri="{D42A27DB-BD31-4B8C-83A1-F6EECF244321}">
                <p14:modId xmlns:p14="http://schemas.microsoft.com/office/powerpoint/2010/main" val="1328437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C7C215CA-7C36-65CF-4F4F-15FFDD722E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6" y="4166439"/>
            <a:ext cx="10728327" cy="2124401"/>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F3157363-71BE-4BEB-8F04-0039DF9C9FEE}"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Bildplatzhalter 10">
            <a:extLst>
              <a:ext uri="{FF2B5EF4-FFF2-40B4-BE49-F238E27FC236}">
                <a16:creationId xmlns:a16="http://schemas.microsoft.com/office/drawing/2014/main" id="{221A3BAE-B19D-4390-B4A5-2C8A2CC87C59}"/>
              </a:ext>
            </a:extLst>
          </p:cNvPr>
          <p:cNvSpPr>
            <a:spLocks noGrp="1"/>
          </p:cNvSpPr>
          <p:nvPr>
            <p:ph type="pic" sz="quarter" idx="13" hasCustomPrompt="1"/>
          </p:nvPr>
        </p:nvSpPr>
        <p:spPr>
          <a:xfrm>
            <a:off x="731838" y="1412875"/>
            <a:ext cx="3420000" cy="2484000"/>
          </a:xfrm>
        </p:spPr>
        <p:txBody>
          <a:bodyPr tIns="360000"/>
          <a:lstStyle>
            <a:lvl1pPr marL="0" indent="0" algn="ctr" rtl="0">
              <a:buNone/>
              <a:defRPr/>
            </a:lvl1pPr>
          </a:lstStyle>
          <a:p>
            <a:r>
              <a:rPr lang="de-CH" noProof="0"/>
              <a:t>Bild durch Klicken auf Symbol hinzufügen</a:t>
            </a:r>
            <a:endParaRPr lang="de-CH" noProof="0" dirty="0"/>
          </a:p>
        </p:txBody>
      </p:sp>
      <p:sp>
        <p:nvSpPr>
          <p:cNvPr id="13" name="Bildplatzhalter 10">
            <a:extLst>
              <a:ext uri="{FF2B5EF4-FFF2-40B4-BE49-F238E27FC236}">
                <a16:creationId xmlns:a16="http://schemas.microsoft.com/office/drawing/2014/main" id="{36793346-BF6B-42A8-ADE0-3AA3DC3B239A}"/>
              </a:ext>
            </a:extLst>
          </p:cNvPr>
          <p:cNvSpPr>
            <a:spLocks noGrp="1"/>
          </p:cNvSpPr>
          <p:nvPr>
            <p:ph type="pic" sz="quarter" idx="16" hasCustomPrompt="1"/>
          </p:nvPr>
        </p:nvSpPr>
        <p:spPr>
          <a:xfrm>
            <a:off x="8040162" y="1414800"/>
            <a:ext cx="3420000" cy="2484000"/>
          </a:xfrm>
        </p:spPr>
        <p:txBody>
          <a:bodyPr tIns="360000"/>
          <a:lstStyle>
            <a:lvl1pPr marL="0" indent="0" algn="ctr" rtl="0">
              <a:buNone/>
              <a:defRPr/>
            </a:lvl1pPr>
          </a:lstStyle>
          <a:p>
            <a:r>
              <a:rPr lang="de-CH" noProof="0"/>
              <a:t>Bild durch Klicken auf Symbol hinzufügen</a:t>
            </a:r>
            <a:endParaRPr lang="de-CH" noProof="0" dirty="0"/>
          </a:p>
        </p:txBody>
      </p:sp>
      <p:sp>
        <p:nvSpPr>
          <p:cNvPr id="14" name="Bildplatzhalter 10">
            <a:extLst>
              <a:ext uri="{FF2B5EF4-FFF2-40B4-BE49-F238E27FC236}">
                <a16:creationId xmlns:a16="http://schemas.microsoft.com/office/drawing/2014/main" id="{FE637F68-618E-43EB-B240-4BFA26852FC5}"/>
              </a:ext>
            </a:extLst>
          </p:cNvPr>
          <p:cNvSpPr>
            <a:spLocks noGrp="1"/>
          </p:cNvSpPr>
          <p:nvPr>
            <p:ph type="pic" sz="quarter" idx="17" hasCustomPrompt="1"/>
          </p:nvPr>
        </p:nvSpPr>
        <p:spPr>
          <a:xfrm>
            <a:off x="4385999" y="1414800"/>
            <a:ext cx="3420000" cy="2484000"/>
          </a:xfrm>
        </p:spPr>
        <p:txBody>
          <a:bodyPr tIns="360000"/>
          <a:lstStyle>
            <a:lvl1pPr marL="0" indent="0" algn="ctr" rtl="0">
              <a:buNone/>
              <a:defRPr/>
            </a:lvl1pPr>
          </a:lstStyle>
          <a:p>
            <a:r>
              <a:rPr lang="de-CH" noProof="0"/>
              <a:t>Bild durch Klicken auf Symbol hinzufügen</a:t>
            </a:r>
            <a:endParaRPr lang="de-CH" noProof="0" dirty="0"/>
          </a:p>
        </p:txBody>
      </p:sp>
    </p:spTree>
    <p:extLst>
      <p:ext uri="{BB962C8B-B14F-4D97-AF65-F5344CB8AC3E}">
        <p14:creationId xmlns:p14="http://schemas.microsoft.com/office/powerpoint/2010/main" val="2955461353"/>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Inhalt Tabel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99DC44F-C574-5B2D-93A0-C3BBD5A7F4C4}"/>
              </a:ext>
            </a:extLst>
          </p:cNvPr>
          <p:cNvGraphicFramePr>
            <a:graphicFrameLocks noChangeAspect="1"/>
          </p:cNvGraphicFramePr>
          <p:nvPr userDrawn="1">
            <p:custDataLst>
              <p:tags r:id="rId1"/>
            </p:custDataLst>
            <p:extLst>
              <p:ext uri="{D42A27DB-BD31-4B8C-83A1-F6EECF244321}">
                <p14:modId xmlns:p14="http://schemas.microsoft.com/office/powerpoint/2010/main" val="29220703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0" name="Object 9" hidden="1">
                        <a:extLst>
                          <a:ext uri="{FF2B5EF4-FFF2-40B4-BE49-F238E27FC236}">
                            <a16:creationId xmlns:a16="http://schemas.microsoft.com/office/drawing/2014/main" id="{899DC44F-C574-5B2D-93A0-C3BBD5A7F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
          </a:xfrm>
        </p:spPr>
        <p:txBody>
          <a:bodyPr/>
          <a:lstStyle>
            <a:lvl1pPr marL="0" indent="0" rtl="0">
              <a:buNone/>
              <a:defRPr b="1"/>
            </a:lvl1pPr>
            <a:lvl2pPr marL="266700" indent="0">
              <a:buNone/>
              <a:defRPr b="1"/>
            </a:lvl2pPr>
            <a:lvl3pPr marL="538163" indent="0">
              <a:buNone/>
              <a:defRPr b="1"/>
            </a:lvl3pPr>
            <a:lvl4pPr marL="804862" indent="0">
              <a:buNone/>
              <a:defRPr b="1"/>
            </a:lvl4pPr>
            <a:lvl5pPr marL="1076325" indent="0">
              <a:buNone/>
              <a:defRPr b="1"/>
            </a:lvl5pPr>
          </a:lstStyle>
          <a:p>
            <a:pPr lvl="0"/>
            <a:r>
              <a:rPr lang="de-CH" noProof="0"/>
              <a:t>Mastertext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336E58EA-D80A-41BF-A4B7-A4A552F4A5D4}"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9" name="Tabellenplatzhalter 8">
            <a:extLst>
              <a:ext uri="{FF2B5EF4-FFF2-40B4-BE49-F238E27FC236}">
                <a16:creationId xmlns:a16="http://schemas.microsoft.com/office/drawing/2014/main" id="{A1D947E6-CC00-458E-BDE1-B0877E30333C}"/>
              </a:ext>
            </a:extLst>
          </p:cNvPr>
          <p:cNvSpPr>
            <a:spLocks noGrp="1"/>
          </p:cNvSpPr>
          <p:nvPr>
            <p:ph type="tbl" sz="quarter" idx="13" hasCustomPrompt="1"/>
          </p:nvPr>
        </p:nvSpPr>
        <p:spPr>
          <a:xfrm>
            <a:off x="731838" y="2061398"/>
            <a:ext cx="10728325" cy="4212401"/>
          </a:xfrm>
        </p:spPr>
        <p:txBody>
          <a:bodyPr tIns="1260000"/>
          <a:lstStyle>
            <a:lvl1pPr marL="0" indent="0" algn="ctr" rtl="0">
              <a:spcBef>
                <a:spcPts val="0"/>
              </a:spcBef>
              <a:buNone/>
              <a:defRPr sz="1400"/>
            </a:lvl1pPr>
          </a:lstStyle>
          <a:p>
            <a:r>
              <a:rPr lang="de-CH" noProof="0"/>
              <a:t>Tabelle durch Klicken auf Symbol hinzufügen</a:t>
            </a:r>
            <a:endParaRPr lang="de-CH" noProof="0" dirty="0"/>
          </a:p>
        </p:txBody>
      </p:sp>
    </p:spTree>
    <p:extLst>
      <p:ext uri="{BB962C8B-B14F-4D97-AF65-F5344CB8AC3E}">
        <p14:creationId xmlns:p14="http://schemas.microsoft.com/office/powerpoint/2010/main" val="2096750995"/>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chlussfoli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5A84A5-5D39-FE48-9BDA-C1D259F9FD3D}"/>
              </a:ext>
            </a:extLst>
          </p:cNvPr>
          <p:cNvGraphicFramePr>
            <a:graphicFrameLocks noChangeAspect="1"/>
          </p:cNvGraphicFramePr>
          <p:nvPr userDrawn="1">
            <p:custDataLst>
              <p:tags r:id="rId1"/>
            </p:custDataLst>
            <p:extLst>
              <p:ext uri="{D42A27DB-BD31-4B8C-83A1-F6EECF244321}">
                <p14:modId xmlns:p14="http://schemas.microsoft.com/office/powerpoint/2010/main" val="899079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Object 1" hidden="1">
                        <a:extLst>
                          <a:ext uri="{FF2B5EF4-FFF2-40B4-BE49-F238E27FC236}">
                            <a16:creationId xmlns:a16="http://schemas.microsoft.com/office/drawing/2014/main" id="{7F5A84A5-5D39-FE48-9BDA-C1D259F9FD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0" name="Inhaltsplatzhalter 2">
            <a:extLst>
              <a:ext uri="{FF2B5EF4-FFF2-40B4-BE49-F238E27FC236}">
                <a16:creationId xmlns:a16="http://schemas.microsoft.com/office/drawing/2014/main" id="{394B20FF-3667-40DF-92A1-C6CF3BBCA26D}"/>
              </a:ext>
            </a:extLst>
          </p:cNvPr>
          <p:cNvSpPr>
            <a:spLocks noGrp="1"/>
          </p:cNvSpPr>
          <p:nvPr>
            <p:ph idx="1" hasCustomPrompt="1"/>
          </p:nvPr>
        </p:nvSpPr>
        <p:spPr>
          <a:xfrm>
            <a:off x="731837" y="2135492"/>
            <a:ext cx="10728325" cy="3960000"/>
          </a:xfrm>
        </p:spPr>
        <p:txBody>
          <a:bodyPr/>
          <a:lstStyle>
            <a:lvl1pPr marL="0" indent="0" rtl="0">
              <a:spcBef>
                <a:spcPts val="0"/>
              </a:spcBef>
              <a:buNone/>
              <a:defRPr>
                <a:solidFill>
                  <a:schemeClr val="tx1"/>
                </a:solidFill>
              </a:defRPr>
            </a:lvl1pPr>
            <a:lvl2pPr marL="266700" indent="0">
              <a:buNone/>
              <a:defRPr>
                <a:solidFill>
                  <a:schemeClr val="bg1"/>
                </a:solidFill>
              </a:defRPr>
            </a:lvl2pPr>
            <a:lvl3pPr marL="540000" indent="0">
              <a:buNone/>
              <a:defRPr>
                <a:solidFill>
                  <a:schemeClr val="bg1"/>
                </a:solidFill>
              </a:defRPr>
            </a:lvl3pPr>
            <a:lvl4pPr marL="808537" indent="0">
              <a:buNone/>
              <a:defRPr>
                <a:solidFill>
                  <a:schemeClr val="bg1"/>
                </a:solidFill>
              </a:defRPr>
            </a:lvl4pPr>
            <a:lvl5pPr marL="1080000" indent="0">
              <a:buNone/>
              <a:defRPr>
                <a:solidFill>
                  <a:schemeClr val="bg1"/>
                </a:solidFill>
              </a:defRPr>
            </a:lvl5pPr>
          </a:lstStyle>
          <a:p>
            <a:pPr lvl="0"/>
            <a:r>
              <a:rPr lang="de-CH" noProof="0"/>
              <a:t>Mastertextformat bearbeiten</a:t>
            </a:r>
            <a:endParaRPr lang="de-CH" noProof="0" dirty="0"/>
          </a:p>
        </p:txBody>
      </p:sp>
      <p:sp>
        <p:nvSpPr>
          <p:cNvPr id="21" name="Bildplatzhalter 8">
            <a:extLst>
              <a:ext uri="{FF2B5EF4-FFF2-40B4-BE49-F238E27FC236}">
                <a16:creationId xmlns:a16="http://schemas.microsoft.com/office/drawing/2014/main" id="{794484F1-3B7F-46CE-AD0B-2310A557A990}"/>
              </a:ext>
            </a:extLst>
          </p:cNvPr>
          <p:cNvSpPr>
            <a:spLocks noGrp="1"/>
          </p:cNvSpPr>
          <p:nvPr>
            <p:ph type="pic" sz="quarter" idx="12" hasCustomPrompt="1"/>
          </p:nvPr>
        </p:nvSpPr>
        <p:spPr>
          <a:xfrm>
            <a:off x="10200163" y="6489088"/>
            <a:ext cx="1260000" cy="180000"/>
          </a:xfrm>
        </p:spPr>
        <p:txBody>
          <a:bodyPr/>
          <a:lstStyle>
            <a:lvl1pPr marL="0" indent="0" algn="l" rtl="0">
              <a:buNone/>
              <a:defRPr sz="700">
                <a:solidFill>
                  <a:schemeClr val="tx1"/>
                </a:solidFill>
              </a:defRPr>
            </a:lvl1pPr>
          </a:lstStyle>
          <a:p>
            <a:r>
              <a:rPr lang="de-CH" noProof="0"/>
              <a:t>Bild durch Klicken auf Symbol hinzufügen</a:t>
            </a:r>
            <a:endParaRPr lang="de-CH" noProof="0" dirty="0"/>
          </a:p>
        </p:txBody>
      </p:sp>
      <p:pic>
        <p:nvPicPr>
          <p:cNvPr id="22" name="Grafik 21">
            <a:extLst>
              <a:ext uri="{FF2B5EF4-FFF2-40B4-BE49-F238E27FC236}">
                <a16:creationId xmlns:a16="http://schemas.microsoft.com/office/drawing/2014/main" id="{F900572E-A73E-42BE-96FA-38ADC4E79FD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Tree>
    <p:extLst>
      <p:ext uri="{BB962C8B-B14F-4D97-AF65-F5344CB8AC3E}">
        <p14:creationId xmlns:p14="http://schemas.microsoft.com/office/powerpoint/2010/main" val="3039831707"/>
      </p:ext>
    </p:extLst>
  </p:cSld>
  <p:clrMapOvr>
    <a:masterClrMapping/>
  </p:clrMapOvr>
  <p:extLst>
    <p:ext uri="{DCECCB84-F9BA-43D5-87BE-67443E8EF086}">
      <p15:sldGuideLst xmlns:p15="http://schemas.microsoft.com/office/powerpoint/2012/main">
        <p15:guide id="1" pos="6698">
          <p15:clr>
            <a:srgbClr val="FBAE40"/>
          </p15:clr>
        </p15:guide>
        <p15:guide id="3" orient="horz" pos="640">
          <p15:clr>
            <a:srgbClr val="FBAE40"/>
          </p15:clr>
        </p15:guide>
        <p15:guide id="4" orient="horz" pos="395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04">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664350-A5E5-3088-B899-6D2BE8FC1A6D}"/>
              </a:ext>
            </a:extLst>
          </p:cNvPr>
          <p:cNvGraphicFramePr>
            <a:graphicFrameLocks noChangeAspect="1"/>
          </p:cNvGraphicFramePr>
          <p:nvPr userDrawn="1">
            <p:custDataLst>
              <p:tags r:id="rId1"/>
            </p:custDataLst>
            <p:extLst>
              <p:ext uri="{D42A27DB-BD31-4B8C-83A1-F6EECF244321}">
                <p14:modId xmlns:p14="http://schemas.microsoft.com/office/powerpoint/2010/main" val="1095880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DA664350-A5E5-3088-B899-6D2BE8FC1A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731837" y="1016000"/>
            <a:ext cx="10728326" cy="5256000"/>
          </a:xfrm>
          <a:solidFill>
            <a:schemeClr val="accent2"/>
          </a:solidFill>
          <a:ln>
            <a:noFill/>
          </a:ln>
        </p:spPr>
        <p:txBody>
          <a:bodyPr vert="horz" lIns="324000" tIns="11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10" name="Grafik 9">
            <a:extLst>
              <a:ext uri="{FF2B5EF4-FFF2-40B4-BE49-F238E27FC236}">
                <a16:creationId xmlns:a16="http://schemas.microsoft.com/office/drawing/2014/main" id="{0EE7317F-7892-4B0F-BA41-44765BB93F0C}"/>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8" y="360538"/>
            <a:ext cx="1765565" cy="288000"/>
          </a:xfrm>
          <a:prstGeom prst="rect">
            <a:avLst/>
          </a:prstGeom>
        </p:spPr>
      </p:pic>
      <p:sp>
        <p:nvSpPr>
          <p:cNvPr id="6" name="Textplatzhalter 3">
            <a:extLst>
              <a:ext uri="{FF2B5EF4-FFF2-40B4-BE49-F238E27FC236}">
                <a16:creationId xmlns:a16="http://schemas.microsoft.com/office/drawing/2014/main" id="{5FCAD79B-EF47-46A0-9575-229F3DAA72F5}"/>
              </a:ext>
            </a:extLst>
          </p:cNvPr>
          <p:cNvSpPr>
            <a:spLocks noGrp="1"/>
          </p:cNvSpPr>
          <p:nvPr>
            <p:ph type="body" sz="quarter" idx="13" hasCustomPrompt="1"/>
          </p:nvPr>
        </p:nvSpPr>
        <p:spPr>
          <a:xfrm>
            <a:off x="1078515" y="5122625"/>
            <a:ext cx="10044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8" name="Bildplatzhalter 8">
            <a:extLst>
              <a:ext uri="{FF2B5EF4-FFF2-40B4-BE49-F238E27FC236}">
                <a16:creationId xmlns:a16="http://schemas.microsoft.com/office/drawing/2014/main" id="{72236FC6-C8FF-43C1-86B9-BF112345926F}"/>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7" name="Textplatzhalter 5">
            <a:extLst>
              <a:ext uri="{FF2B5EF4-FFF2-40B4-BE49-F238E27FC236}">
                <a16:creationId xmlns:a16="http://schemas.microsoft.com/office/drawing/2014/main" id="{789A3267-E086-4EC3-A0BB-F8ECD01A5C7E}"/>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732532068"/>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 04 – Uni Zürich">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27070BA-5062-3B68-0BB4-A6D0457D1CD7}"/>
              </a:ext>
            </a:extLst>
          </p:cNvPr>
          <p:cNvGraphicFramePr>
            <a:graphicFrameLocks noChangeAspect="1"/>
          </p:cNvGraphicFramePr>
          <p:nvPr userDrawn="1">
            <p:custDataLst>
              <p:tags r:id="rId1"/>
            </p:custDataLst>
            <p:extLst>
              <p:ext uri="{D42A27DB-BD31-4B8C-83A1-F6EECF244321}">
                <p14:modId xmlns:p14="http://schemas.microsoft.com/office/powerpoint/2010/main" val="1271718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127070BA-5062-3B68-0BB4-A6D0457D1C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EB061823-3F7A-48C8-8477-B410C18AC1B7}"/>
              </a:ext>
            </a:extLst>
          </p:cNvPr>
          <p:cNvSpPr>
            <a:spLocks noGrp="1"/>
          </p:cNvSpPr>
          <p:nvPr>
            <p:ph type="pic" sz="quarter" idx="11" hasCustomPrompt="1"/>
          </p:nvPr>
        </p:nvSpPr>
        <p:spPr>
          <a:xfrm>
            <a:off x="731838" y="1016000"/>
            <a:ext cx="10728325" cy="5256000"/>
          </a:xfrm>
        </p:spPr>
        <p:txBody>
          <a:bodyPr lIns="5580000" tIns="0" rIns="0" anchor="ctr" anchorCtr="0"/>
          <a:lstStyle>
            <a:lvl1pPr marL="0" indent="0" algn="ctr" rtl="0">
              <a:buNone/>
              <a:defRPr/>
            </a:lvl1pPr>
          </a:lstStyle>
          <a:p>
            <a:r>
              <a:rPr lang="de-CH" noProof="0"/>
              <a:t>Bild durch Klicken auf Symbol hinzufügen</a:t>
            </a:r>
            <a:endParaRPr lang="de-CH" noProof="0" dirty="0"/>
          </a:p>
        </p:txBody>
      </p:sp>
      <p:sp>
        <p:nvSpPr>
          <p:cNvPr id="2" name="Titel 1">
            <a:extLst>
              <a:ext uri="{FF2B5EF4-FFF2-40B4-BE49-F238E27FC236}">
                <a16:creationId xmlns:a16="http://schemas.microsoft.com/office/drawing/2014/main" id="{3491294E-BEE7-4DA8-BBC8-88E1A7B07AEF}"/>
              </a:ext>
            </a:extLst>
          </p:cNvPr>
          <p:cNvSpPr>
            <a:spLocks noGrp="1"/>
          </p:cNvSpPr>
          <p:nvPr>
            <p:ph type="ctrTitle" hasCustomPrompt="1"/>
          </p:nvPr>
        </p:nvSpPr>
        <p:spPr>
          <a:xfrm>
            <a:off x="0" y="2233538"/>
            <a:ext cx="5904000" cy="2772000"/>
          </a:xfrm>
          <a:solidFill>
            <a:srgbClr val="007A96"/>
          </a:solidFill>
        </p:spPr>
        <p:txBody>
          <a:bodyPr vert="horz" lIns="1080000" tIns="252000" anchor="t" anchorCtr="0"/>
          <a:lstStyle>
            <a:lvl1pPr algn="l" rtl="0">
              <a:lnSpc>
                <a:spcPct val="100000"/>
              </a:lnSpc>
              <a:defRPr sz="3600">
                <a:solidFill>
                  <a:schemeClr val="bg1"/>
                </a:solidFill>
              </a:defRPr>
            </a:lvl1pPr>
          </a:lstStyle>
          <a:p>
            <a:r>
              <a:rPr lang="de-CH" noProof="0"/>
              <a:t>Mastertitelformat bearbeiten</a:t>
            </a:r>
            <a:endParaRPr lang="de-CH" noProof="0" dirty="0"/>
          </a:p>
        </p:txBody>
      </p:sp>
      <p:pic>
        <p:nvPicPr>
          <p:cNvPr id="4" name="Grafik 3">
            <a:extLst>
              <a:ext uri="{FF2B5EF4-FFF2-40B4-BE49-F238E27FC236}">
                <a16:creationId xmlns:a16="http://schemas.microsoft.com/office/drawing/2014/main" id="{793E2EDD-B19F-478D-BB03-AD55EC1E86BD}"/>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27672" y="228020"/>
            <a:ext cx="3679200" cy="552508"/>
          </a:xfrm>
          <a:prstGeom prst="rect">
            <a:avLst/>
          </a:prstGeom>
        </p:spPr>
      </p:pic>
      <p:sp>
        <p:nvSpPr>
          <p:cNvPr id="7" name="Textplatzhalter 3">
            <a:extLst>
              <a:ext uri="{FF2B5EF4-FFF2-40B4-BE49-F238E27FC236}">
                <a16:creationId xmlns:a16="http://schemas.microsoft.com/office/drawing/2014/main" id="{D364BCB8-820F-4C3A-BA37-7048A4C8D4C3}"/>
              </a:ext>
            </a:extLst>
          </p:cNvPr>
          <p:cNvSpPr>
            <a:spLocks noGrp="1"/>
          </p:cNvSpPr>
          <p:nvPr>
            <p:ph type="body" sz="quarter" idx="13" hasCustomPrompt="1"/>
          </p:nvPr>
        </p:nvSpPr>
        <p:spPr>
          <a:xfrm>
            <a:off x="1078516" y="3860495"/>
            <a:ext cx="4680000" cy="1008000"/>
          </a:xfrm>
        </p:spPr>
        <p:txBody>
          <a:bodyPr/>
          <a:lstStyle>
            <a:lvl1pPr marL="0" indent="0" rtl="0">
              <a:lnSpc>
                <a:spcPct val="100000"/>
              </a:lnSpc>
              <a:spcBef>
                <a:spcPts val="0"/>
              </a:spcBef>
              <a:buNone/>
              <a:defRPr>
                <a:solidFill>
                  <a:schemeClr val="bg1"/>
                </a:solidFill>
              </a:defRPr>
            </a:lvl1pPr>
            <a:lvl2pPr marL="266700" indent="0">
              <a:lnSpc>
                <a:spcPct val="100000"/>
              </a:lnSpc>
              <a:spcBef>
                <a:spcPts val="0"/>
              </a:spcBef>
              <a:buNone/>
              <a:defRPr>
                <a:solidFill>
                  <a:schemeClr val="bg1"/>
                </a:solidFill>
              </a:defRPr>
            </a:lvl2pPr>
            <a:lvl3pPr marL="538163" indent="0">
              <a:lnSpc>
                <a:spcPct val="100000"/>
              </a:lnSpc>
              <a:spcBef>
                <a:spcPts val="0"/>
              </a:spcBef>
              <a:buNone/>
              <a:defRPr>
                <a:solidFill>
                  <a:schemeClr val="bg1"/>
                </a:solidFill>
              </a:defRPr>
            </a:lvl3pPr>
            <a:lvl4pPr marL="804862" indent="0">
              <a:lnSpc>
                <a:spcPct val="100000"/>
              </a:lnSpc>
              <a:spcBef>
                <a:spcPts val="0"/>
              </a:spcBef>
              <a:buNone/>
              <a:defRPr>
                <a:solidFill>
                  <a:schemeClr val="bg1"/>
                </a:solidFill>
              </a:defRPr>
            </a:lvl4pPr>
            <a:lvl5pPr marL="1076325" indent="0">
              <a:lnSpc>
                <a:spcPct val="100000"/>
              </a:lnSpc>
              <a:spcBef>
                <a:spcPts val="0"/>
              </a:spcBef>
              <a:buNone/>
              <a:defRPr>
                <a:solidFill>
                  <a:schemeClr val="bg1"/>
                </a:solidFill>
              </a:defRPr>
            </a:lvl5pPr>
          </a:lstStyle>
          <a:p>
            <a:pPr lvl="0"/>
            <a:r>
              <a:rPr lang="de-CH" noProof="0"/>
              <a:t>Mastertextformat bearbeiten</a:t>
            </a:r>
            <a:endParaRPr lang="de-CH" noProof="0" dirty="0"/>
          </a:p>
        </p:txBody>
      </p:sp>
      <p:sp>
        <p:nvSpPr>
          <p:cNvPr id="11" name="Bildplatzhalter 8">
            <a:extLst>
              <a:ext uri="{FF2B5EF4-FFF2-40B4-BE49-F238E27FC236}">
                <a16:creationId xmlns:a16="http://schemas.microsoft.com/office/drawing/2014/main" id="{A73913C2-8DFE-4F15-B2DB-2A6D5C267009}"/>
              </a:ext>
            </a:extLst>
          </p:cNvPr>
          <p:cNvSpPr>
            <a:spLocks noGrp="1"/>
          </p:cNvSpPr>
          <p:nvPr>
            <p:ph type="pic" sz="quarter" idx="12" hasCustomPrompt="1"/>
          </p:nvPr>
        </p:nvSpPr>
        <p:spPr>
          <a:xfrm>
            <a:off x="10200163" y="6489088"/>
            <a:ext cx="1260000" cy="180000"/>
          </a:xfrm>
        </p:spPr>
        <p:txBody>
          <a:bodyPr/>
          <a:lstStyle>
            <a:lvl1pPr marL="0" indent="0" algn="l" rtl="0">
              <a:buNone/>
              <a:defRPr sz="700"/>
            </a:lvl1pPr>
          </a:lstStyle>
          <a:p>
            <a:r>
              <a:rPr lang="de-CH" noProof="0"/>
              <a:t>Bild durch Klicken auf Symbol hinzufügen</a:t>
            </a:r>
            <a:endParaRPr lang="de-CH" noProof="0" dirty="0"/>
          </a:p>
        </p:txBody>
      </p:sp>
      <p:sp>
        <p:nvSpPr>
          <p:cNvPr id="9" name="Textplatzhalter 5">
            <a:extLst>
              <a:ext uri="{FF2B5EF4-FFF2-40B4-BE49-F238E27FC236}">
                <a16:creationId xmlns:a16="http://schemas.microsoft.com/office/drawing/2014/main" id="{791A1AD7-DB7D-4C75-BEFB-EB6D34D3B2AB}"/>
              </a:ext>
            </a:extLst>
          </p:cNvPr>
          <p:cNvSpPr>
            <a:spLocks noGrp="1"/>
          </p:cNvSpPr>
          <p:nvPr>
            <p:ph type="body" sz="quarter" idx="16" hasCustomPrompt="1"/>
          </p:nvPr>
        </p:nvSpPr>
        <p:spPr>
          <a:xfrm>
            <a:off x="9696449" y="316800"/>
            <a:ext cx="1800000" cy="360000"/>
          </a:xfrm>
        </p:spPr>
        <p:txBody>
          <a:bodyPr anchor="b" anchorCtr="0"/>
          <a:lstStyle>
            <a:lvl1pPr marL="0" indent="0" algn="l" rtl="0">
              <a:spcBef>
                <a:spcPts val="0"/>
              </a:spcBef>
              <a:buNone/>
              <a:defRPr sz="1150"/>
            </a:lvl1pPr>
            <a:lvl2pPr>
              <a:defRPr sz="1150"/>
            </a:lvl2pPr>
            <a:lvl3pPr>
              <a:defRPr sz="1150"/>
            </a:lvl3pPr>
            <a:lvl4pPr>
              <a:defRPr sz="1150"/>
            </a:lvl4pPr>
            <a:lvl5pPr>
              <a:defRPr sz="1150"/>
            </a:lvl5pPr>
          </a:lstStyle>
          <a:p>
            <a:pPr lvl="0"/>
            <a:r>
              <a:rPr lang="de-CH"/>
              <a:t>Organisationseinheit verbal</a:t>
            </a:r>
            <a:br>
              <a:rPr lang="de-CH"/>
            </a:br>
            <a:r>
              <a:rPr lang="de-CH"/>
              <a:t>optional auf 2 Zeilen</a:t>
            </a:r>
            <a:endParaRPr lang="de-CH" dirty="0"/>
          </a:p>
        </p:txBody>
      </p:sp>
    </p:spTree>
    <p:extLst>
      <p:ext uri="{BB962C8B-B14F-4D97-AF65-F5344CB8AC3E}">
        <p14:creationId xmlns:p14="http://schemas.microsoft.com/office/powerpoint/2010/main" val="2789257521"/>
      </p:ext>
    </p:extLst>
  </p:cSld>
  <p:clrMapOvr>
    <a:masterClrMapping/>
  </p:clrMapOvr>
  <p:extLst>
    <p:ext uri="{DCECCB84-F9BA-43D5-87BE-67443E8EF086}">
      <p15:sldGuideLst xmlns:p15="http://schemas.microsoft.com/office/powerpoint/2012/main">
        <p15:guide id="3" orient="horz" pos="640">
          <p15:clr>
            <a:srgbClr val="FBAE40"/>
          </p15:clr>
        </p15:guide>
        <p15:guide id="4" orient="horz" pos="395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F295A86-8B6C-B768-F750-85279E01609A}"/>
              </a:ext>
            </a:extLst>
          </p:cNvPr>
          <p:cNvGraphicFramePr>
            <a:graphicFrameLocks noChangeAspect="1"/>
          </p:cNvGraphicFramePr>
          <p:nvPr userDrawn="1">
            <p:custDataLst>
              <p:tags r:id="rId1"/>
            </p:custDataLst>
            <p:extLst>
              <p:ext uri="{D42A27DB-BD31-4B8C-83A1-F6EECF244321}">
                <p14:modId xmlns:p14="http://schemas.microsoft.com/office/powerpoint/2010/main" val="36143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BF295A86-8B6C-B768-F750-85279E0160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p:txBody>
          <a:bodyPr/>
          <a:lstStyle>
            <a:lvl1pPr marL="539750" indent="-539750" rtl="0">
              <a:buFont typeface="+mj-lt"/>
              <a:buAutoNum type="arabicPeriod"/>
              <a:defRPr/>
            </a:lvl1pPr>
            <a:lvl2pPr marL="1079500" indent="-539750" rtl="0">
              <a:buFont typeface="+mj-lt"/>
              <a:buAutoNum type="arabicPeriod"/>
              <a:defRPr/>
            </a:lvl2pPr>
            <a:lvl3pPr marL="1612900" indent="-533400" rtl="0">
              <a:buFont typeface="+mj-lt"/>
              <a:buAutoNum type="arabicPeriod"/>
              <a:defRPr/>
            </a:lvl3pPr>
            <a:lvl4pPr marL="2152650" indent="-539750" rtl="0">
              <a:buFont typeface="+mj-lt"/>
              <a:buAutoNum type="arabicPeriod"/>
              <a:defRPr/>
            </a:lvl4pPr>
            <a:lvl5pPr marL="2692400" indent="-539750" rtl="0">
              <a:buFont typeface="+mj-lt"/>
              <a:buAutoNum type="arabicPeriod"/>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6059F135-B351-4FA3-B9E0-89609E8CA23C}"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Tree>
    <p:extLst>
      <p:ext uri="{BB962C8B-B14F-4D97-AF65-F5344CB8AC3E}">
        <p14:creationId xmlns:p14="http://schemas.microsoft.com/office/powerpoint/2010/main" val="22215997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7277A93-F3FF-5C0A-2A20-3CB97AE794AF}"/>
              </a:ext>
            </a:extLst>
          </p:cNvPr>
          <p:cNvGraphicFramePr>
            <a:graphicFrameLocks noChangeAspect="1"/>
          </p:cNvGraphicFramePr>
          <p:nvPr userDrawn="1">
            <p:custDataLst>
              <p:tags r:id="rId1"/>
            </p:custDataLst>
            <p:extLst>
              <p:ext uri="{D42A27DB-BD31-4B8C-83A1-F6EECF244321}">
                <p14:modId xmlns:p14="http://schemas.microsoft.com/office/powerpoint/2010/main" val="2487407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57277A93-F3FF-5C0A-2A20-3CB97AE794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90BAB201-9640-44FE-B571-97B5E995F396}"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Tree>
    <p:extLst>
      <p:ext uri="{BB962C8B-B14F-4D97-AF65-F5344CB8AC3E}">
        <p14:creationId xmlns:p14="http://schemas.microsoft.com/office/powerpoint/2010/main" val="18887531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mit Fussnot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5BB064A-2F5C-25EC-EA57-1B922278268E}"/>
              </a:ext>
            </a:extLst>
          </p:cNvPr>
          <p:cNvGraphicFramePr>
            <a:graphicFrameLocks noChangeAspect="1"/>
          </p:cNvGraphicFramePr>
          <p:nvPr userDrawn="1">
            <p:custDataLst>
              <p:tags r:id="rId1"/>
            </p:custDataLst>
            <p:extLst>
              <p:ext uri="{D42A27DB-BD31-4B8C-83A1-F6EECF244321}">
                <p14:modId xmlns:p14="http://schemas.microsoft.com/office/powerpoint/2010/main" val="66311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9" name="Object 8" hidden="1">
                        <a:extLst>
                          <a:ext uri="{FF2B5EF4-FFF2-40B4-BE49-F238E27FC236}">
                            <a16:creationId xmlns:a16="http://schemas.microsoft.com/office/drawing/2014/main" id="{15BB064A-2F5C-25EC-EA57-1B92227826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p:txBody>
          <a:bodyPr vert="horz"/>
          <a:lstStyle>
            <a:lvl1pPr rtl="0">
              <a:defRPr/>
            </a:lvl1pPr>
          </a:lstStyle>
          <a:p>
            <a:r>
              <a:rPr lang="de-CH" noProof="0"/>
              <a:t>Mastertitelformat bearbeiten</a:t>
            </a:r>
            <a:endParaRPr lang="de-CH" noProof="0" dirty="0"/>
          </a:p>
        </p:txBody>
      </p:sp>
      <p:sp>
        <p:nvSpPr>
          <p:cNvPr id="3" name="Inhaltsplatzhalter 2">
            <a:extLst>
              <a:ext uri="{FF2B5EF4-FFF2-40B4-BE49-F238E27FC236}">
                <a16:creationId xmlns:a16="http://schemas.microsoft.com/office/drawing/2014/main" id="{87D3E2EF-5F98-49EC-BCEA-B215D49920A3}"/>
              </a:ext>
            </a:extLst>
          </p:cNvPr>
          <p:cNvSpPr>
            <a:spLocks noGrp="1"/>
          </p:cNvSpPr>
          <p:nvPr>
            <p:ph idx="1" hasCustomPrompt="1"/>
          </p:nvPr>
        </p:nvSpPr>
        <p:spPr>
          <a:xfrm>
            <a:off x="731837" y="1412875"/>
            <a:ext cx="10728325" cy="3960000"/>
          </a:xfrm>
        </p:spPr>
        <p:txBody>
          <a:bodyPr/>
          <a:lstStyle>
            <a:lvl1pPr rtl="0">
              <a:defRPr/>
            </a:lvl1pPr>
            <a:lvl2pPr rtl="0">
              <a:defRPr/>
            </a:lvl2pPr>
            <a:lvl3pPr rtl="0">
              <a:defRPr/>
            </a:lvl3pPr>
            <a:lvl4pPr rtl="0">
              <a:defRPr/>
            </a:lvl4pPr>
            <a:lvl5pPr rtl="0">
              <a:defRPr/>
            </a:lvl5p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lvl1pPr>
          </a:lstStyle>
          <a:p>
            <a:fld id="{4EA69D89-07A2-487A-9187-E77EE519CDAE}"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lvl1pPr>
          </a:lstStyle>
          <a:p>
            <a:fld id="{5ACA52AF-F19D-405C-AD5F-7D94B96A5CC3}" type="slidenum">
              <a:rPr lang="de-CH" smtClean="0"/>
              <a:pPr/>
              <a:t>‹#›</a:t>
            </a:fld>
            <a:endParaRPr lang="de-CH" dirty="0"/>
          </a:p>
        </p:txBody>
      </p:sp>
      <p:pic>
        <p:nvPicPr>
          <p:cNvPr id="7" name="Grafik 6">
            <a:extLst>
              <a:ext uri="{FF2B5EF4-FFF2-40B4-BE49-F238E27FC236}">
                <a16:creationId xmlns:a16="http://schemas.microsoft.com/office/drawing/2014/main" id="{7F7C476A-2849-4D68-9FA2-3A5CFC13C833}"/>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31837" y="6507088"/>
            <a:ext cx="984462" cy="162000"/>
          </a:xfrm>
          <a:prstGeom prst="rect">
            <a:avLst/>
          </a:prstGeom>
        </p:spPr>
      </p:pic>
      <p:sp>
        <p:nvSpPr>
          <p:cNvPr id="11" name="Textplatzhalter 10">
            <a:extLst>
              <a:ext uri="{FF2B5EF4-FFF2-40B4-BE49-F238E27FC236}">
                <a16:creationId xmlns:a16="http://schemas.microsoft.com/office/drawing/2014/main" id="{2F6D94FA-21C6-4AE0-AA4F-3A077810ED93}"/>
              </a:ext>
            </a:extLst>
          </p:cNvPr>
          <p:cNvSpPr>
            <a:spLocks noGrp="1"/>
          </p:cNvSpPr>
          <p:nvPr>
            <p:ph type="body" sz="quarter" idx="13" hasCustomPrompt="1"/>
          </p:nvPr>
        </p:nvSpPr>
        <p:spPr>
          <a:xfrm>
            <a:off x="731836" y="5570135"/>
            <a:ext cx="5364164" cy="721233"/>
          </a:xfrm>
        </p:spPr>
        <p:txBody>
          <a:bodyPr anchor="b" anchorCtr="0"/>
          <a:lstStyle>
            <a:lvl1pPr marL="179388" indent="-179388" rtl="0">
              <a:spcBef>
                <a:spcPts val="0"/>
              </a:spcBef>
              <a:buFont typeface="+mj-lt"/>
              <a:buAutoNum type="arabicPeriod"/>
              <a:defRPr sz="800"/>
            </a:lvl1pPr>
            <a:lvl2pPr marL="266700" indent="0">
              <a:buNone/>
              <a:defRPr sz="800"/>
            </a:lvl2pPr>
            <a:lvl3pPr marL="538163" indent="0">
              <a:buNone/>
              <a:defRPr sz="800"/>
            </a:lvl3pPr>
            <a:lvl4pPr marL="804862" indent="0">
              <a:buNone/>
              <a:defRPr sz="800"/>
            </a:lvl4pPr>
            <a:lvl5pPr marL="1076325" indent="0">
              <a:buNone/>
              <a:defRPr sz="800"/>
            </a:lvl5pPr>
          </a:lstStyle>
          <a:p>
            <a:pPr lvl="0"/>
            <a:r>
              <a:rPr lang="de-CH" noProof="0"/>
              <a:t>Mastertextformat bearbeiten</a:t>
            </a:r>
            <a:endParaRPr lang="de-CH" noProof="0" dirty="0"/>
          </a:p>
        </p:txBody>
      </p:sp>
    </p:spTree>
    <p:extLst>
      <p:ext uri="{BB962C8B-B14F-4D97-AF65-F5344CB8AC3E}">
        <p14:creationId xmlns:p14="http://schemas.microsoft.com/office/powerpoint/2010/main" val="4260017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ischen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C007B98-B8E7-5D06-BE36-389E1CC53E37}"/>
              </a:ext>
            </a:extLst>
          </p:cNvPr>
          <p:cNvGraphicFramePr>
            <a:graphicFrameLocks noChangeAspect="1"/>
          </p:cNvGraphicFramePr>
          <p:nvPr userDrawn="1">
            <p:custDataLst>
              <p:tags r:id="rId1"/>
            </p:custDataLst>
            <p:extLst>
              <p:ext uri="{D42A27DB-BD31-4B8C-83A1-F6EECF244321}">
                <p14:modId xmlns:p14="http://schemas.microsoft.com/office/powerpoint/2010/main" val="1756571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CC007B98-B8E7-5D06-BE36-389E1CC53E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3346F7F9-CBC8-4641-B12B-7E76FD213E12}"/>
              </a:ext>
            </a:extLst>
          </p:cNvPr>
          <p:cNvSpPr>
            <a:spLocks noGrp="1"/>
          </p:cNvSpPr>
          <p:nvPr>
            <p:ph type="title" hasCustomPrompt="1"/>
          </p:nvPr>
        </p:nvSpPr>
        <p:spPr>
          <a:xfrm>
            <a:off x="731837" y="2224781"/>
            <a:ext cx="10728325" cy="1260000"/>
          </a:xfrm>
        </p:spPr>
        <p:txBody>
          <a:bodyPr vert="horz"/>
          <a:lstStyle>
            <a:lvl1pPr rtl="0">
              <a:lnSpc>
                <a:spcPct val="100000"/>
              </a:lnSpc>
              <a:defRPr sz="3600">
                <a:solidFill>
                  <a:schemeClr val="bg1"/>
                </a:solidFill>
              </a:defRPr>
            </a:lvl1pPr>
          </a:lstStyle>
          <a:p>
            <a:r>
              <a:rPr lang="de-CH" noProof="0"/>
              <a:t>Mastertitelformat bearbeiten</a:t>
            </a:r>
            <a:endParaRPr lang="de-CH" noProof="0" dirty="0"/>
          </a:p>
        </p:txBody>
      </p:sp>
      <p:sp>
        <p:nvSpPr>
          <p:cNvPr id="4" name="Datumsplatzhalter 3">
            <a:extLst>
              <a:ext uri="{FF2B5EF4-FFF2-40B4-BE49-F238E27FC236}">
                <a16:creationId xmlns:a16="http://schemas.microsoft.com/office/drawing/2014/main" id="{67DB21BA-81C0-43DB-A42C-5F672DBC37F2}"/>
              </a:ext>
            </a:extLst>
          </p:cNvPr>
          <p:cNvSpPr>
            <a:spLocks noGrp="1"/>
          </p:cNvSpPr>
          <p:nvPr>
            <p:ph type="dt" sz="half" idx="10"/>
          </p:nvPr>
        </p:nvSpPr>
        <p:spPr/>
        <p:txBody>
          <a:bodyPr/>
          <a:lstStyle>
            <a:lvl1pPr rtl="0">
              <a:defRPr>
                <a:solidFill>
                  <a:schemeClr val="bg1"/>
                </a:solidFill>
              </a:defRPr>
            </a:lvl1pPr>
          </a:lstStyle>
          <a:p>
            <a:fld id="{C9DD074F-D31A-4617-88C4-129766D2B102}" type="datetime1">
              <a:rPr lang="de-CH" smtClean="0"/>
              <a:t>29.02.2024</a:t>
            </a:fld>
            <a:endParaRPr lang="de-CH" dirty="0"/>
          </a:p>
        </p:txBody>
      </p:sp>
      <p:sp>
        <p:nvSpPr>
          <p:cNvPr id="5" name="Fußzeilenplatzhalter 4">
            <a:extLst>
              <a:ext uri="{FF2B5EF4-FFF2-40B4-BE49-F238E27FC236}">
                <a16:creationId xmlns:a16="http://schemas.microsoft.com/office/drawing/2014/main" id="{1BC78786-28C3-4EAB-A3FC-1A4BFA8447EC}"/>
              </a:ext>
            </a:extLst>
          </p:cNvPr>
          <p:cNvSpPr>
            <a:spLocks noGrp="1"/>
          </p:cNvSpPr>
          <p:nvPr>
            <p:ph type="ftr" sz="quarter" idx="11"/>
          </p:nvPr>
        </p:nvSpPr>
        <p:spPr/>
        <p:txBody>
          <a:bodyPr/>
          <a:lstStyle>
            <a:lvl1pPr rtl="0">
              <a:defRPr>
                <a:solidFill>
                  <a:schemeClr val="bg1"/>
                </a:solidFill>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0FC1D5C1-A4AD-42D4-93B7-D3B71140E3A1}"/>
              </a:ext>
            </a:extLst>
          </p:cNvPr>
          <p:cNvSpPr>
            <a:spLocks noGrp="1"/>
          </p:cNvSpPr>
          <p:nvPr>
            <p:ph type="sldNum" sz="quarter" idx="12"/>
          </p:nvPr>
        </p:nvSpPr>
        <p:spPr/>
        <p:txBody>
          <a:bodyPr/>
          <a:lstStyle>
            <a:lvl1pPr rtl="0">
              <a:defRPr>
                <a:solidFill>
                  <a:schemeClr val="bg1"/>
                </a:solidFill>
              </a:defRPr>
            </a:lvl1pPr>
          </a:lstStyle>
          <a:p>
            <a:fld id="{5ACA52AF-F19D-405C-AD5F-7D94B96A5CC3}" type="slidenum">
              <a:rPr lang="de-CH" smtClean="0"/>
              <a:pPr/>
              <a:t>‹#›</a:t>
            </a:fld>
            <a:endParaRPr lang="de-CH" dirty="0"/>
          </a:p>
        </p:txBody>
      </p:sp>
      <p:grpSp>
        <p:nvGrpSpPr>
          <p:cNvPr id="10" name="Grafik 6">
            <a:extLst>
              <a:ext uri="{FF2B5EF4-FFF2-40B4-BE49-F238E27FC236}">
                <a16:creationId xmlns:a16="http://schemas.microsoft.com/office/drawing/2014/main" id="{7F7C476A-2849-4D68-9FA2-3A5CFC13C833}"/>
              </a:ext>
            </a:extLst>
          </p:cNvPr>
          <p:cNvGrpSpPr/>
          <p:nvPr/>
        </p:nvGrpSpPr>
        <p:grpSpPr>
          <a:xfrm>
            <a:off x="731837" y="6507088"/>
            <a:ext cx="984462" cy="162000"/>
            <a:chOff x="731837" y="6507088"/>
            <a:chExt cx="984462" cy="162000"/>
          </a:xfrm>
          <a:solidFill>
            <a:schemeClr val="bg1"/>
          </a:solidFill>
        </p:grpSpPr>
        <p:grpSp>
          <p:nvGrpSpPr>
            <p:cNvPr id="12" name="Grafik 6">
              <a:extLst>
                <a:ext uri="{FF2B5EF4-FFF2-40B4-BE49-F238E27FC236}">
                  <a16:creationId xmlns:a16="http://schemas.microsoft.com/office/drawing/2014/main" id="{7F7C476A-2849-4D68-9FA2-3A5CFC13C833}"/>
                </a:ext>
              </a:extLst>
            </p:cNvPr>
            <p:cNvGrpSpPr/>
            <p:nvPr/>
          </p:nvGrpSpPr>
          <p:grpSpPr>
            <a:xfrm>
              <a:off x="1266489" y="6555186"/>
              <a:ext cx="197463" cy="110963"/>
              <a:chOff x="1266489" y="6555186"/>
              <a:chExt cx="197463" cy="110963"/>
            </a:xfrm>
            <a:grpFill/>
          </p:grpSpPr>
          <p:sp>
            <p:nvSpPr>
              <p:cNvPr id="13" name="Freihandform: Form 12">
                <a:extLst>
                  <a:ext uri="{FF2B5EF4-FFF2-40B4-BE49-F238E27FC236}">
                    <a16:creationId xmlns:a16="http://schemas.microsoft.com/office/drawing/2014/main" id="{18BB0752-F87C-44D9-A9A5-97AF1DEDA1AE}"/>
                  </a:ext>
                </a:extLst>
              </p:cNvPr>
              <p:cNvSpPr/>
              <p:nvPr/>
            </p:nvSpPr>
            <p:spPr>
              <a:xfrm>
                <a:off x="1266489" y="6556934"/>
                <a:ext cx="95902" cy="109216"/>
              </a:xfrm>
              <a:custGeom>
                <a:avLst/>
                <a:gdLst>
                  <a:gd name="connsiteX0" fmla="*/ 66742 w 95902"/>
                  <a:gd name="connsiteY0" fmla="*/ 65797 h 109216"/>
                  <a:gd name="connsiteX1" fmla="*/ 35339 w 95902"/>
                  <a:gd name="connsiteY1" fmla="*/ 95082 h 109216"/>
                  <a:gd name="connsiteX2" fmla="*/ 15953 w 95902"/>
                  <a:gd name="connsiteY2" fmla="*/ 79537 h 109216"/>
                  <a:gd name="connsiteX3" fmla="*/ 15899 w 95902"/>
                  <a:gd name="connsiteY3" fmla="*/ 76265 h 109216"/>
                  <a:gd name="connsiteX4" fmla="*/ 16896 w 95902"/>
                  <a:gd name="connsiteY4" fmla="*/ 66295 h 109216"/>
                  <a:gd name="connsiteX5" fmla="*/ 30230 w 95902"/>
                  <a:gd name="connsiteY5" fmla="*/ 0 h 109216"/>
                  <a:gd name="connsiteX6" fmla="*/ 30230 w 95902"/>
                  <a:gd name="connsiteY6" fmla="*/ 0 h 109216"/>
                  <a:gd name="connsiteX7" fmla="*/ 14528 w 95902"/>
                  <a:gd name="connsiteY7" fmla="*/ 0 h 109216"/>
                  <a:gd name="connsiteX8" fmla="*/ 1194 w 95902"/>
                  <a:gd name="connsiteY8" fmla="*/ 67791 h 109216"/>
                  <a:gd name="connsiteX9" fmla="*/ 1194 w 95902"/>
                  <a:gd name="connsiteY9" fmla="*/ 68788 h 109216"/>
                  <a:gd name="connsiteX10" fmla="*/ 73 w 95902"/>
                  <a:gd name="connsiteY10" fmla="*/ 78508 h 109216"/>
                  <a:gd name="connsiteX11" fmla="*/ 26638 w 95902"/>
                  <a:gd name="connsiteY11" fmla="*/ 109122 h 109216"/>
                  <a:gd name="connsiteX12" fmla="*/ 29980 w 95902"/>
                  <a:gd name="connsiteY12" fmla="*/ 109163 h 109216"/>
                  <a:gd name="connsiteX13" fmla="*/ 61384 w 95902"/>
                  <a:gd name="connsiteY13" fmla="*/ 96702 h 109216"/>
                  <a:gd name="connsiteX14" fmla="*/ 59265 w 95902"/>
                  <a:gd name="connsiteY14" fmla="*/ 107917 h 109216"/>
                  <a:gd name="connsiteX15" fmla="*/ 59265 w 95902"/>
                  <a:gd name="connsiteY15" fmla="*/ 107917 h 109216"/>
                  <a:gd name="connsiteX16" fmla="*/ 74842 w 95902"/>
                  <a:gd name="connsiteY16" fmla="*/ 107917 h 109216"/>
                  <a:gd name="connsiteX17" fmla="*/ 95902 w 95902"/>
                  <a:gd name="connsiteY17" fmla="*/ 0 h 109216"/>
                  <a:gd name="connsiteX18" fmla="*/ 95902 w 95902"/>
                  <a:gd name="connsiteY18" fmla="*/ 0 h 109216"/>
                  <a:gd name="connsiteX19" fmla="*/ 79951 w 95902"/>
                  <a:gd name="connsiteY19" fmla="*/ 0 h 109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902" h="109216">
                    <a:moveTo>
                      <a:pt x="66742" y="65797"/>
                    </a:moveTo>
                    <a:cubicBezTo>
                      <a:pt x="65228" y="82115"/>
                      <a:pt x="51723" y="94709"/>
                      <a:pt x="35339" y="95082"/>
                    </a:cubicBezTo>
                    <a:cubicBezTo>
                      <a:pt x="25692" y="96142"/>
                      <a:pt x="17013" y="89183"/>
                      <a:pt x="15953" y="79537"/>
                    </a:cubicBezTo>
                    <a:cubicBezTo>
                      <a:pt x="15833" y="78450"/>
                      <a:pt x="15814" y="77355"/>
                      <a:pt x="15899" y="76265"/>
                    </a:cubicBezTo>
                    <a:cubicBezTo>
                      <a:pt x="15976" y="72921"/>
                      <a:pt x="16309" y="69588"/>
                      <a:pt x="16896" y="66295"/>
                    </a:cubicBezTo>
                    <a:lnTo>
                      <a:pt x="30230" y="0"/>
                    </a:lnTo>
                    <a:lnTo>
                      <a:pt x="30230" y="0"/>
                    </a:lnTo>
                    <a:lnTo>
                      <a:pt x="14528" y="0"/>
                    </a:lnTo>
                    <a:lnTo>
                      <a:pt x="1194" y="67791"/>
                    </a:lnTo>
                    <a:lnTo>
                      <a:pt x="1194" y="68788"/>
                    </a:lnTo>
                    <a:cubicBezTo>
                      <a:pt x="472" y="71978"/>
                      <a:pt x="95" y="75237"/>
                      <a:pt x="73" y="78508"/>
                    </a:cubicBezTo>
                    <a:cubicBezTo>
                      <a:pt x="-1045" y="94298"/>
                      <a:pt x="10848" y="108004"/>
                      <a:pt x="26638" y="109122"/>
                    </a:cubicBezTo>
                    <a:cubicBezTo>
                      <a:pt x="27751" y="109200"/>
                      <a:pt x="28866" y="109214"/>
                      <a:pt x="29980" y="109163"/>
                    </a:cubicBezTo>
                    <a:cubicBezTo>
                      <a:pt x="41760" y="109765"/>
                      <a:pt x="53221" y="105218"/>
                      <a:pt x="61384" y="96702"/>
                    </a:cubicBezTo>
                    <a:lnTo>
                      <a:pt x="59265" y="107917"/>
                    </a:lnTo>
                    <a:lnTo>
                      <a:pt x="59265" y="107917"/>
                    </a:lnTo>
                    <a:lnTo>
                      <a:pt x="74842" y="107917"/>
                    </a:lnTo>
                    <a:lnTo>
                      <a:pt x="95902" y="0"/>
                    </a:lnTo>
                    <a:lnTo>
                      <a:pt x="95902" y="0"/>
                    </a:lnTo>
                    <a:lnTo>
                      <a:pt x="79951" y="0"/>
                    </a:lnTo>
                    <a:close/>
                  </a:path>
                </a:pathLst>
              </a:custGeom>
              <a:grpFill/>
              <a:ln w="12419" cap="flat">
                <a:noFill/>
                <a:prstDash val="solid"/>
                <a:miter/>
              </a:ln>
            </p:spPr>
            <p:txBody>
              <a:bodyPr rtlCol="0" anchor="ctr"/>
              <a:lstStyle/>
              <a:p>
                <a:pPr rtl="0"/>
                <a:endParaRPr lang="de-CH" noProof="0" dirty="0"/>
              </a:p>
            </p:txBody>
          </p:sp>
          <p:sp>
            <p:nvSpPr>
              <p:cNvPr id="14" name="Freihandform: Form 13">
                <a:extLst>
                  <a:ext uri="{FF2B5EF4-FFF2-40B4-BE49-F238E27FC236}">
                    <a16:creationId xmlns:a16="http://schemas.microsoft.com/office/drawing/2014/main" id="{ED44DE23-7081-4AC9-BF06-502BEC71C004}"/>
                  </a:ext>
                </a:extLst>
              </p:cNvPr>
              <p:cNvSpPr/>
              <p:nvPr/>
            </p:nvSpPr>
            <p:spPr>
              <a:xfrm>
                <a:off x="1376472" y="6555186"/>
                <a:ext cx="87480" cy="109664"/>
              </a:xfrm>
              <a:custGeom>
                <a:avLst/>
                <a:gdLst>
                  <a:gd name="connsiteX0" fmla="*/ 64302 w 87480"/>
                  <a:gd name="connsiteY0" fmla="*/ 3 h 109664"/>
                  <a:gd name="connsiteX1" fmla="*/ 34518 w 87480"/>
                  <a:gd name="connsiteY1" fmla="*/ 14209 h 109664"/>
                  <a:gd name="connsiteX2" fmla="*/ 36886 w 87480"/>
                  <a:gd name="connsiteY2" fmla="*/ 1747 h 109664"/>
                  <a:gd name="connsiteX3" fmla="*/ 36886 w 87480"/>
                  <a:gd name="connsiteY3" fmla="*/ 1747 h 109664"/>
                  <a:gd name="connsiteX4" fmla="*/ 21434 w 87480"/>
                  <a:gd name="connsiteY4" fmla="*/ 1747 h 109664"/>
                  <a:gd name="connsiteX5" fmla="*/ 0 w 87480"/>
                  <a:gd name="connsiteY5" fmla="*/ 109664 h 109664"/>
                  <a:gd name="connsiteX6" fmla="*/ 0 w 87480"/>
                  <a:gd name="connsiteY6" fmla="*/ 109664 h 109664"/>
                  <a:gd name="connsiteX7" fmla="*/ 15826 w 87480"/>
                  <a:gd name="connsiteY7" fmla="*/ 109664 h 109664"/>
                  <a:gd name="connsiteX8" fmla="*/ 28288 w 87480"/>
                  <a:gd name="connsiteY8" fmla="*/ 43493 h 109664"/>
                  <a:gd name="connsiteX9" fmla="*/ 59940 w 87480"/>
                  <a:gd name="connsiteY9" fmla="*/ 14209 h 109664"/>
                  <a:gd name="connsiteX10" fmla="*/ 75019 w 87480"/>
                  <a:gd name="connsiteY10" fmla="*/ 21810 h 109664"/>
                  <a:gd name="connsiteX11" fmla="*/ 75019 w 87480"/>
                  <a:gd name="connsiteY11" fmla="*/ 21810 h 109664"/>
                  <a:gd name="connsiteX12" fmla="*/ 87480 w 87480"/>
                  <a:gd name="connsiteY12" fmla="*/ 10346 h 109664"/>
                  <a:gd name="connsiteX13" fmla="*/ 87480 w 87480"/>
                  <a:gd name="connsiteY13" fmla="*/ 10346 h 109664"/>
                  <a:gd name="connsiteX14" fmla="*/ 63928 w 87480"/>
                  <a:gd name="connsiteY14" fmla="*/ 252 h 10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480" h="109664">
                    <a:moveTo>
                      <a:pt x="64302" y="3"/>
                    </a:moveTo>
                    <a:cubicBezTo>
                      <a:pt x="52709" y="-136"/>
                      <a:pt x="41706" y="5111"/>
                      <a:pt x="34518" y="14209"/>
                    </a:cubicBezTo>
                    <a:lnTo>
                      <a:pt x="36886" y="1747"/>
                    </a:lnTo>
                    <a:lnTo>
                      <a:pt x="36886" y="1747"/>
                    </a:lnTo>
                    <a:lnTo>
                      <a:pt x="21434" y="1747"/>
                    </a:lnTo>
                    <a:lnTo>
                      <a:pt x="0" y="109664"/>
                    </a:lnTo>
                    <a:lnTo>
                      <a:pt x="0" y="109664"/>
                    </a:lnTo>
                    <a:lnTo>
                      <a:pt x="15826" y="109664"/>
                    </a:lnTo>
                    <a:lnTo>
                      <a:pt x="28288" y="43493"/>
                    </a:lnTo>
                    <a:cubicBezTo>
                      <a:pt x="30515" y="27438"/>
                      <a:pt x="43760" y="15183"/>
                      <a:pt x="59940" y="14209"/>
                    </a:cubicBezTo>
                    <a:cubicBezTo>
                      <a:pt x="65919" y="14072"/>
                      <a:pt x="71573" y="16922"/>
                      <a:pt x="75019" y="21810"/>
                    </a:cubicBezTo>
                    <a:lnTo>
                      <a:pt x="75019" y="21810"/>
                    </a:lnTo>
                    <a:lnTo>
                      <a:pt x="87480" y="10346"/>
                    </a:lnTo>
                    <a:lnTo>
                      <a:pt x="87480" y="10346"/>
                    </a:lnTo>
                    <a:cubicBezTo>
                      <a:pt x="81552" y="3603"/>
                      <a:pt x="72899" y="-105"/>
                      <a:pt x="63928" y="252"/>
                    </a:cubicBezTo>
                  </a:path>
                </a:pathLst>
              </a:custGeom>
              <a:grpFill/>
              <a:ln w="12419" cap="flat">
                <a:noFill/>
                <a:prstDash val="solid"/>
                <a:miter/>
              </a:ln>
            </p:spPr>
            <p:txBody>
              <a:bodyPr rtlCol="0" anchor="ctr"/>
              <a:lstStyle/>
              <a:p>
                <a:pPr rtl="0"/>
                <a:endParaRPr lang="de-CH" noProof="0" dirty="0"/>
              </a:p>
            </p:txBody>
          </p:sp>
        </p:grpSp>
        <p:sp>
          <p:nvSpPr>
            <p:cNvPr id="15" name="Freihandform: Form 14">
              <a:extLst>
                <a:ext uri="{FF2B5EF4-FFF2-40B4-BE49-F238E27FC236}">
                  <a16:creationId xmlns:a16="http://schemas.microsoft.com/office/drawing/2014/main" id="{18C24FD2-AEE2-43CA-8EB3-8E646C2E5E46}"/>
                </a:ext>
              </a:extLst>
            </p:cNvPr>
            <p:cNvSpPr/>
            <p:nvPr/>
          </p:nvSpPr>
          <p:spPr>
            <a:xfrm>
              <a:off x="1159517" y="6556560"/>
              <a:ext cx="96452" cy="108166"/>
            </a:xfrm>
            <a:custGeom>
              <a:avLst/>
              <a:gdLst>
                <a:gd name="connsiteX0" fmla="*/ 23303 w 96452"/>
                <a:gd name="connsiteY0" fmla="*/ 0 h 108166"/>
                <a:gd name="connsiteX1" fmla="*/ 20562 w 96452"/>
                <a:gd name="connsiteY1" fmla="*/ 13708 h 108166"/>
                <a:gd name="connsiteX2" fmla="*/ 20562 w 96452"/>
                <a:gd name="connsiteY2" fmla="*/ 13957 h 108166"/>
                <a:gd name="connsiteX3" fmla="*/ 74271 w 96452"/>
                <a:gd name="connsiteY3" fmla="*/ 13957 h 108166"/>
                <a:gd name="connsiteX4" fmla="*/ 2742 w 96452"/>
                <a:gd name="connsiteY4" fmla="*/ 94957 h 108166"/>
                <a:gd name="connsiteX5" fmla="*/ 2617 w 96452"/>
                <a:gd name="connsiteY5" fmla="*/ 94957 h 108166"/>
                <a:gd name="connsiteX6" fmla="*/ 0 w 96452"/>
                <a:gd name="connsiteY6" fmla="*/ 108166 h 108166"/>
                <a:gd name="connsiteX7" fmla="*/ 76265 w 96452"/>
                <a:gd name="connsiteY7" fmla="*/ 108166 h 108166"/>
                <a:gd name="connsiteX8" fmla="*/ 79006 w 96452"/>
                <a:gd name="connsiteY8" fmla="*/ 94209 h 108166"/>
                <a:gd name="connsiteX9" fmla="*/ 21932 w 96452"/>
                <a:gd name="connsiteY9" fmla="*/ 94209 h 108166"/>
                <a:gd name="connsiteX10" fmla="*/ 93835 w 96452"/>
                <a:gd name="connsiteY10" fmla="*/ 13209 h 108166"/>
                <a:gd name="connsiteX11" fmla="*/ 93835 w 96452"/>
                <a:gd name="connsiteY11" fmla="*/ 13209 h 108166"/>
                <a:gd name="connsiteX12" fmla="*/ 96452 w 96452"/>
                <a:gd name="connsiteY12" fmla="*/ 0 h 108166"/>
                <a:gd name="connsiteX13" fmla="*/ 23303 w 96452"/>
                <a:gd name="connsiteY13"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452" h="108166">
                  <a:moveTo>
                    <a:pt x="23303" y="0"/>
                  </a:moveTo>
                  <a:lnTo>
                    <a:pt x="20562" y="13708"/>
                  </a:lnTo>
                  <a:lnTo>
                    <a:pt x="20562" y="13957"/>
                  </a:lnTo>
                  <a:lnTo>
                    <a:pt x="74271" y="13957"/>
                  </a:lnTo>
                  <a:lnTo>
                    <a:pt x="2742" y="94957"/>
                  </a:lnTo>
                  <a:lnTo>
                    <a:pt x="2617" y="94957"/>
                  </a:lnTo>
                  <a:lnTo>
                    <a:pt x="0" y="108166"/>
                  </a:lnTo>
                  <a:lnTo>
                    <a:pt x="76265" y="108166"/>
                  </a:lnTo>
                  <a:lnTo>
                    <a:pt x="79006" y="94209"/>
                  </a:lnTo>
                  <a:lnTo>
                    <a:pt x="21932" y="94209"/>
                  </a:lnTo>
                  <a:lnTo>
                    <a:pt x="93835" y="13209"/>
                  </a:lnTo>
                  <a:lnTo>
                    <a:pt x="93835" y="13209"/>
                  </a:lnTo>
                  <a:lnTo>
                    <a:pt x="96452" y="0"/>
                  </a:lnTo>
                  <a:lnTo>
                    <a:pt x="23303" y="0"/>
                  </a:lnTo>
                  <a:close/>
                </a:path>
              </a:pathLst>
            </a:custGeom>
            <a:grpFill/>
            <a:ln w="12419" cap="flat">
              <a:noFill/>
              <a:prstDash val="solid"/>
              <a:miter/>
            </a:ln>
          </p:spPr>
          <p:txBody>
            <a:bodyPr rtlCol="0" anchor="ctr"/>
            <a:lstStyle/>
            <a:p>
              <a:pPr rtl="0"/>
              <a:endParaRPr lang="de-CH" noProof="0" dirty="0"/>
            </a:p>
          </p:txBody>
        </p:sp>
        <p:sp>
          <p:nvSpPr>
            <p:cNvPr id="16" name="Freihandform: Form 15">
              <a:extLst>
                <a:ext uri="{FF2B5EF4-FFF2-40B4-BE49-F238E27FC236}">
                  <a16:creationId xmlns:a16="http://schemas.microsoft.com/office/drawing/2014/main" id="{AEE7F6F4-4D2C-45B3-A061-9606B2BD36A7}"/>
                </a:ext>
              </a:extLst>
            </p:cNvPr>
            <p:cNvSpPr/>
            <p:nvPr/>
          </p:nvSpPr>
          <p:spPr>
            <a:xfrm>
              <a:off x="1466445" y="6556560"/>
              <a:ext cx="37259" cy="108166"/>
            </a:xfrm>
            <a:custGeom>
              <a:avLst/>
              <a:gdLst>
                <a:gd name="connsiteX0" fmla="*/ 21683 w 37259"/>
                <a:gd name="connsiteY0" fmla="*/ 0 h 108166"/>
                <a:gd name="connsiteX1" fmla="*/ 0 w 37259"/>
                <a:gd name="connsiteY1" fmla="*/ 107917 h 108166"/>
                <a:gd name="connsiteX2" fmla="*/ 0 w 37259"/>
                <a:gd name="connsiteY2" fmla="*/ 108166 h 108166"/>
                <a:gd name="connsiteX3" fmla="*/ 15702 w 37259"/>
                <a:gd name="connsiteY3" fmla="*/ 108166 h 108166"/>
                <a:gd name="connsiteX4" fmla="*/ 37260 w 37259"/>
                <a:gd name="connsiteY4" fmla="*/ 0 h 108166"/>
                <a:gd name="connsiteX5" fmla="*/ 21683 w 37259"/>
                <a:gd name="connsiteY5" fmla="*/ 0 h 108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259" h="108166">
                  <a:moveTo>
                    <a:pt x="21683" y="0"/>
                  </a:moveTo>
                  <a:lnTo>
                    <a:pt x="0" y="107917"/>
                  </a:lnTo>
                  <a:lnTo>
                    <a:pt x="0" y="108166"/>
                  </a:lnTo>
                  <a:lnTo>
                    <a:pt x="15702" y="108166"/>
                  </a:lnTo>
                  <a:lnTo>
                    <a:pt x="37260" y="0"/>
                  </a:lnTo>
                  <a:lnTo>
                    <a:pt x="21683" y="0"/>
                  </a:lnTo>
                  <a:close/>
                </a:path>
              </a:pathLst>
            </a:custGeom>
            <a:grpFill/>
            <a:ln w="12419" cap="flat">
              <a:noFill/>
              <a:prstDash val="solid"/>
              <a:miter/>
            </a:ln>
          </p:spPr>
          <p:txBody>
            <a:bodyPr rtlCol="0" anchor="ctr"/>
            <a:lstStyle/>
            <a:p>
              <a:pPr rtl="0"/>
              <a:endParaRPr lang="de-CH" noProof="0" dirty="0"/>
            </a:p>
          </p:txBody>
        </p:sp>
        <p:grpSp>
          <p:nvGrpSpPr>
            <p:cNvPr id="17" name="Grafik 6">
              <a:extLst>
                <a:ext uri="{FF2B5EF4-FFF2-40B4-BE49-F238E27FC236}">
                  <a16:creationId xmlns:a16="http://schemas.microsoft.com/office/drawing/2014/main" id="{7F7C476A-2849-4D68-9FA2-3A5CFC13C833}"/>
                </a:ext>
              </a:extLst>
            </p:cNvPr>
            <p:cNvGrpSpPr/>
            <p:nvPr/>
          </p:nvGrpSpPr>
          <p:grpSpPr>
            <a:xfrm>
              <a:off x="1518879" y="6507337"/>
              <a:ext cx="191395" cy="158803"/>
              <a:chOff x="1518879" y="6507337"/>
              <a:chExt cx="191395" cy="158803"/>
            </a:xfrm>
            <a:grpFill/>
          </p:grpSpPr>
          <p:sp>
            <p:nvSpPr>
              <p:cNvPr id="18" name="Freihandform: Form 17">
                <a:extLst>
                  <a:ext uri="{FF2B5EF4-FFF2-40B4-BE49-F238E27FC236}">
                    <a16:creationId xmlns:a16="http://schemas.microsoft.com/office/drawing/2014/main" id="{B2186F78-5D28-4695-8B1C-5A3F1A53AAB3}"/>
                  </a:ext>
                </a:extLst>
              </p:cNvPr>
              <p:cNvSpPr/>
              <p:nvPr/>
            </p:nvSpPr>
            <p:spPr>
              <a:xfrm>
                <a:off x="1614114" y="6507337"/>
                <a:ext cx="96160" cy="157638"/>
              </a:xfrm>
              <a:custGeom>
                <a:avLst/>
                <a:gdLst>
                  <a:gd name="connsiteX0" fmla="*/ 66046 w 96160"/>
                  <a:gd name="connsiteY0" fmla="*/ 47852 h 157638"/>
                  <a:gd name="connsiteX1" fmla="*/ 35142 w 96160"/>
                  <a:gd name="connsiteY1" fmla="*/ 60314 h 157638"/>
                  <a:gd name="connsiteX2" fmla="*/ 47603 w 96160"/>
                  <a:gd name="connsiteY2" fmla="*/ 0 h 157638"/>
                  <a:gd name="connsiteX3" fmla="*/ 31652 w 96160"/>
                  <a:gd name="connsiteY3" fmla="*/ 0 h 157638"/>
                  <a:gd name="connsiteX4" fmla="*/ 0 w 96160"/>
                  <a:gd name="connsiteY4" fmla="*/ 157389 h 157638"/>
                  <a:gd name="connsiteX5" fmla="*/ 15701 w 96160"/>
                  <a:gd name="connsiteY5" fmla="*/ 157389 h 157638"/>
                  <a:gd name="connsiteX6" fmla="*/ 28911 w 96160"/>
                  <a:gd name="connsiteY6" fmla="*/ 91218 h 157638"/>
                  <a:gd name="connsiteX7" fmla="*/ 60563 w 96160"/>
                  <a:gd name="connsiteY7" fmla="*/ 62058 h 157638"/>
                  <a:gd name="connsiteX8" fmla="*/ 79837 w 96160"/>
                  <a:gd name="connsiteY8" fmla="*/ 77742 h 157638"/>
                  <a:gd name="connsiteX9" fmla="*/ 79878 w 96160"/>
                  <a:gd name="connsiteY9" fmla="*/ 80875 h 157638"/>
                  <a:gd name="connsiteX10" fmla="*/ 78757 w 96160"/>
                  <a:gd name="connsiteY10" fmla="*/ 90969 h 157638"/>
                  <a:gd name="connsiteX11" fmla="*/ 65423 w 96160"/>
                  <a:gd name="connsiteY11" fmla="*/ 157638 h 157638"/>
                  <a:gd name="connsiteX12" fmla="*/ 81125 w 96160"/>
                  <a:gd name="connsiteY12" fmla="*/ 157638 h 157638"/>
                  <a:gd name="connsiteX13" fmla="*/ 94957 w 96160"/>
                  <a:gd name="connsiteY13" fmla="*/ 89474 h 157638"/>
                  <a:gd name="connsiteX14" fmla="*/ 96078 w 96160"/>
                  <a:gd name="connsiteY14" fmla="*/ 78757 h 157638"/>
                  <a:gd name="connsiteX15" fmla="*/ 69522 w 96160"/>
                  <a:gd name="connsiteY15" fmla="*/ 47902 h 157638"/>
                  <a:gd name="connsiteX16" fmla="*/ 66046 w 96160"/>
                  <a:gd name="connsiteY16" fmla="*/ 47852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160" h="157638">
                    <a:moveTo>
                      <a:pt x="66046" y="47852"/>
                    </a:moveTo>
                    <a:cubicBezTo>
                      <a:pt x="54431" y="47363"/>
                      <a:pt x="43168" y="51904"/>
                      <a:pt x="35142" y="60314"/>
                    </a:cubicBezTo>
                    <a:lnTo>
                      <a:pt x="47603" y="0"/>
                    </a:lnTo>
                    <a:lnTo>
                      <a:pt x="31652" y="0"/>
                    </a:lnTo>
                    <a:lnTo>
                      <a:pt x="0" y="157389"/>
                    </a:lnTo>
                    <a:lnTo>
                      <a:pt x="15701" y="157389"/>
                    </a:lnTo>
                    <a:lnTo>
                      <a:pt x="28911" y="91218"/>
                    </a:lnTo>
                    <a:cubicBezTo>
                      <a:pt x="30603" y="74910"/>
                      <a:pt x="44170" y="62411"/>
                      <a:pt x="60563" y="62058"/>
                    </a:cubicBezTo>
                    <a:cubicBezTo>
                      <a:pt x="70216" y="61067"/>
                      <a:pt x="78845" y="68088"/>
                      <a:pt x="79837" y="77742"/>
                    </a:cubicBezTo>
                    <a:cubicBezTo>
                      <a:pt x="79945" y="78783"/>
                      <a:pt x="79958" y="79832"/>
                      <a:pt x="79878" y="80875"/>
                    </a:cubicBezTo>
                    <a:cubicBezTo>
                      <a:pt x="79822" y="84268"/>
                      <a:pt x="79446" y="87647"/>
                      <a:pt x="78757" y="90969"/>
                    </a:cubicBezTo>
                    <a:lnTo>
                      <a:pt x="65423" y="157638"/>
                    </a:lnTo>
                    <a:lnTo>
                      <a:pt x="81125" y="157638"/>
                    </a:lnTo>
                    <a:lnTo>
                      <a:pt x="94957" y="89474"/>
                    </a:lnTo>
                    <a:cubicBezTo>
                      <a:pt x="95657" y="85943"/>
                      <a:pt x="96034" y="82356"/>
                      <a:pt x="96078" y="78757"/>
                    </a:cubicBezTo>
                    <a:cubicBezTo>
                      <a:pt x="97265" y="62903"/>
                      <a:pt x="85375" y="49089"/>
                      <a:pt x="69522" y="47902"/>
                    </a:cubicBezTo>
                    <a:cubicBezTo>
                      <a:pt x="68365" y="47815"/>
                      <a:pt x="67205" y="47799"/>
                      <a:pt x="66046" y="47852"/>
                    </a:cubicBezTo>
                  </a:path>
                </a:pathLst>
              </a:custGeom>
              <a:grpFill/>
              <a:ln w="12419" cap="flat">
                <a:noFill/>
                <a:prstDash val="solid"/>
                <a:miter/>
              </a:ln>
            </p:spPr>
            <p:txBody>
              <a:bodyPr rtlCol="0" anchor="ctr"/>
              <a:lstStyle/>
              <a:p>
                <a:pPr rtl="0"/>
                <a:endParaRPr lang="de-CH" noProof="0" dirty="0"/>
              </a:p>
            </p:txBody>
          </p:sp>
          <p:sp>
            <p:nvSpPr>
              <p:cNvPr id="19" name="Freihandform: Form 18">
                <a:extLst>
                  <a:ext uri="{FF2B5EF4-FFF2-40B4-BE49-F238E27FC236}">
                    <a16:creationId xmlns:a16="http://schemas.microsoft.com/office/drawing/2014/main" id="{1FE5475E-83C3-4BE3-BBF1-FAE9A6986B3F}"/>
                  </a:ext>
                </a:extLst>
              </p:cNvPr>
              <p:cNvSpPr/>
              <p:nvPr/>
            </p:nvSpPr>
            <p:spPr>
              <a:xfrm>
                <a:off x="1518879" y="6555189"/>
                <a:ext cx="87882" cy="110951"/>
              </a:xfrm>
              <a:custGeom>
                <a:avLst/>
                <a:gdLst>
                  <a:gd name="connsiteX0" fmla="*/ 56853 w 87882"/>
                  <a:gd name="connsiteY0" fmla="*/ 0 h 110951"/>
                  <a:gd name="connsiteX1" fmla="*/ 1649 w 87882"/>
                  <a:gd name="connsiteY1" fmla="*/ 55329 h 110951"/>
                  <a:gd name="connsiteX2" fmla="*/ 153 w 87882"/>
                  <a:gd name="connsiteY2" fmla="*/ 71903 h 110951"/>
                  <a:gd name="connsiteX3" fmla="*/ 32484 w 87882"/>
                  <a:gd name="connsiteY3" fmla="*/ 110801 h 110951"/>
                  <a:gd name="connsiteX4" fmla="*/ 37538 w 87882"/>
                  <a:gd name="connsiteY4" fmla="*/ 110908 h 110951"/>
                  <a:gd name="connsiteX5" fmla="*/ 73552 w 87882"/>
                  <a:gd name="connsiteY5" fmla="*/ 95705 h 110951"/>
                  <a:gd name="connsiteX6" fmla="*/ 73552 w 87882"/>
                  <a:gd name="connsiteY6" fmla="*/ 95705 h 110951"/>
                  <a:gd name="connsiteX7" fmla="*/ 64455 w 87882"/>
                  <a:gd name="connsiteY7" fmla="*/ 84614 h 110951"/>
                  <a:gd name="connsiteX8" fmla="*/ 64455 w 87882"/>
                  <a:gd name="connsiteY8" fmla="*/ 84614 h 110951"/>
                  <a:gd name="connsiteX9" fmla="*/ 64455 w 87882"/>
                  <a:gd name="connsiteY9" fmla="*/ 84614 h 110951"/>
                  <a:gd name="connsiteX10" fmla="*/ 38535 w 87882"/>
                  <a:gd name="connsiteY10" fmla="*/ 97075 h 110951"/>
                  <a:gd name="connsiteX11" fmla="*/ 15233 w 87882"/>
                  <a:gd name="connsiteY11" fmla="*/ 75551 h 110951"/>
                  <a:gd name="connsiteX12" fmla="*/ 15356 w 87882"/>
                  <a:gd name="connsiteY12" fmla="*/ 72152 h 110951"/>
                  <a:gd name="connsiteX13" fmla="*/ 17101 w 87882"/>
                  <a:gd name="connsiteY13" fmla="*/ 55952 h 110951"/>
                  <a:gd name="connsiteX14" fmla="*/ 31058 w 87882"/>
                  <a:gd name="connsiteY14" fmla="*/ 25048 h 110951"/>
                  <a:gd name="connsiteX15" fmla="*/ 55233 w 87882"/>
                  <a:gd name="connsiteY15" fmla="*/ 14206 h 110951"/>
                  <a:gd name="connsiteX16" fmla="*/ 76293 w 87882"/>
                  <a:gd name="connsiteY16" fmla="*/ 26668 h 110951"/>
                  <a:gd name="connsiteX17" fmla="*/ 76293 w 87882"/>
                  <a:gd name="connsiteY17" fmla="*/ 26668 h 110951"/>
                  <a:gd name="connsiteX18" fmla="*/ 87883 w 87882"/>
                  <a:gd name="connsiteY18" fmla="*/ 16823 h 110951"/>
                  <a:gd name="connsiteX19" fmla="*/ 87883 w 87882"/>
                  <a:gd name="connsiteY19" fmla="*/ 16823 h 110951"/>
                  <a:gd name="connsiteX20" fmla="*/ 56729 w 87882"/>
                  <a:gd name="connsiteY20" fmla="*/ 748 h 11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7882" h="110951">
                    <a:moveTo>
                      <a:pt x="56853" y="0"/>
                    </a:moveTo>
                    <a:cubicBezTo>
                      <a:pt x="28192" y="0"/>
                      <a:pt x="8129" y="20188"/>
                      <a:pt x="1649" y="55329"/>
                    </a:cubicBezTo>
                    <a:cubicBezTo>
                      <a:pt x="671" y="60800"/>
                      <a:pt x="170" y="66345"/>
                      <a:pt x="153" y="71903"/>
                    </a:cubicBezTo>
                    <a:cubicBezTo>
                      <a:pt x="-1660" y="91572"/>
                      <a:pt x="12814" y="108987"/>
                      <a:pt x="32484" y="110801"/>
                    </a:cubicBezTo>
                    <a:cubicBezTo>
                      <a:pt x="34163" y="110955"/>
                      <a:pt x="35853" y="110991"/>
                      <a:pt x="37538" y="110908"/>
                    </a:cubicBezTo>
                    <a:cubicBezTo>
                      <a:pt x="51112" y="110955"/>
                      <a:pt x="64118" y="105465"/>
                      <a:pt x="73552" y="95705"/>
                    </a:cubicBezTo>
                    <a:lnTo>
                      <a:pt x="73552" y="95705"/>
                    </a:lnTo>
                    <a:lnTo>
                      <a:pt x="64455" y="84614"/>
                    </a:lnTo>
                    <a:lnTo>
                      <a:pt x="64455" y="84614"/>
                    </a:lnTo>
                    <a:lnTo>
                      <a:pt x="64455" y="84614"/>
                    </a:lnTo>
                    <a:cubicBezTo>
                      <a:pt x="58138" y="92466"/>
                      <a:pt x="48613" y="97045"/>
                      <a:pt x="38535" y="97075"/>
                    </a:cubicBezTo>
                    <a:cubicBezTo>
                      <a:pt x="26157" y="97566"/>
                      <a:pt x="15724" y="87929"/>
                      <a:pt x="15233" y="75551"/>
                    </a:cubicBezTo>
                    <a:cubicBezTo>
                      <a:pt x="15188" y="74416"/>
                      <a:pt x="15229" y="73280"/>
                      <a:pt x="15356" y="72152"/>
                    </a:cubicBezTo>
                    <a:cubicBezTo>
                      <a:pt x="15424" y="66709"/>
                      <a:pt x="16008" y="61285"/>
                      <a:pt x="17101" y="55952"/>
                    </a:cubicBezTo>
                    <a:cubicBezTo>
                      <a:pt x="18838" y="44568"/>
                      <a:pt x="23666" y="33878"/>
                      <a:pt x="31058" y="25048"/>
                    </a:cubicBezTo>
                    <a:cubicBezTo>
                      <a:pt x="37213" y="18167"/>
                      <a:pt x="46002" y="14225"/>
                      <a:pt x="55233" y="14206"/>
                    </a:cubicBezTo>
                    <a:cubicBezTo>
                      <a:pt x="64085" y="13892"/>
                      <a:pt x="72308" y="18758"/>
                      <a:pt x="76293" y="26668"/>
                    </a:cubicBezTo>
                    <a:lnTo>
                      <a:pt x="76293" y="26668"/>
                    </a:lnTo>
                    <a:lnTo>
                      <a:pt x="87883" y="16823"/>
                    </a:lnTo>
                    <a:lnTo>
                      <a:pt x="87883" y="16823"/>
                    </a:lnTo>
                    <a:cubicBezTo>
                      <a:pt x="81104" y="6298"/>
                      <a:pt x="69235" y="174"/>
                      <a:pt x="56729" y="748"/>
                    </a:cubicBezTo>
                  </a:path>
                </a:pathLst>
              </a:custGeom>
              <a:grpFill/>
              <a:ln w="12419" cap="flat">
                <a:noFill/>
                <a:prstDash val="solid"/>
                <a:miter/>
              </a:ln>
            </p:spPr>
            <p:txBody>
              <a:bodyPr rtlCol="0" anchor="ctr"/>
              <a:lstStyle/>
              <a:p>
                <a:pPr rtl="0"/>
                <a:endParaRPr lang="de-CH" noProof="0" dirty="0"/>
              </a:p>
            </p:txBody>
          </p:sp>
        </p:grpSp>
        <p:sp>
          <p:nvSpPr>
            <p:cNvPr id="20" name="Freihandform: Form 19">
              <a:extLst>
                <a:ext uri="{FF2B5EF4-FFF2-40B4-BE49-F238E27FC236}">
                  <a16:creationId xmlns:a16="http://schemas.microsoft.com/office/drawing/2014/main" id="{41B77B6E-E7CB-412B-95AC-A9322C6799BB}"/>
                </a:ext>
              </a:extLst>
            </p:cNvPr>
            <p:cNvSpPr/>
            <p:nvPr/>
          </p:nvSpPr>
          <p:spPr>
            <a:xfrm>
              <a:off x="1493985"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1" name="Freihandform: Form 20">
              <a:extLst>
                <a:ext uri="{FF2B5EF4-FFF2-40B4-BE49-F238E27FC236}">
                  <a16:creationId xmlns:a16="http://schemas.microsoft.com/office/drawing/2014/main" id="{832E5C1A-13CE-49A6-B590-B6EAA5F9E1AD}"/>
                </a:ext>
              </a:extLst>
            </p:cNvPr>
            <p:cNvSpPr/>
            <p:nvPr/>
          </p:nvSpPr>
          <p:spPr>
            <a:xfrm>
              <a:off x="1340708" y="6507088"/>
              <a:ext cx="19689" cy="19689"/>
            </a:xfrm>
            <a:custGeom>
              <a:avLst/>
              <a:gdLst>
                <a:gd name="connsiteX0" fmla="*/ 3988 w 19689"/>
                <a:gd name="connsiteY0" fmla="*/ 0 h 19689"/>
                <a:gd name="connsiteX1" fmla="*/ 0 w 19689"/>
                <a:gd name="connsiteY1" fmla="*/ 19689 h 19689"/>
                <a:gd name="connsiteX2" fmla="*/ 15826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826"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2" name="Freihandform: Form 21">
              <a:extLst>
                <a:ext uri="{FF2B5EF4-FFF2-40B4-BE49-F238E27FC236}">
                  <a16:creationId xmlns:a16="http://schemas.microsoft.com/office/drawing/2014/main" id="{63AE00B0-780F-4053-8FE9-B7D321217AFF}"/>
                </a:ext>
              </a:extLst>
            </p:cNvPr>
            <p:cNvSpPr/>
            <p:nvPr/>
          </p:nvSpPr>
          <p:spPr>
            <a:xfrm>
              <a:off x="1298712" y="6507088"/>
              <a:ext cx="19689" cy="19689"/>
            </a:xfrm>
            <a:custGeom>
              <a:avLst/>
              <a:gdLst>
                <a:gd name="connsiteX0" fmla="*/ 3988 w 19689"/>
                <a:gd name="connsiteY0" fmla="*/ 0 h 19689"/>
                <a:gd name="connsiteX1" fmla="*/ 0 w 19689"/>
                <a:gd name="connsiteY1" fmla="*/ 19689 h 19689"/>
                <a:gd name="connsiteX2" fmla="*/ 15702 w 19689"/>
                <a:gd name="connsiteY2" fmla="*/ 19689 h 19689"/>
                <a:gd name="connsiteX3" fmla="*/ 19689 w 19689"/>
                <a:gd name="connsiteY3" fmla="*/ 0 h 19689"/>
                <a:gd name="connsiteX4" fmla="*/ 3988 w 19689"/>
                <a:gd name="connsiteY4" fmla="*/ 0 h 19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89" h="19689">
                  <a:moveTo>
                    <a:pt x="3988" y="0"/>
                  </a:moveTo>
                  <a:lnTo>
                    <a:pt x="0" y="19689"/>
                  </a:lnTo>
                  <a:lnTo>
                    <a:pt x="15702" y="19689"/>
                  </a:lnTo>
                  <a:lnTo>
                    <a:pt x="19689" y="0"/>
                  </a:lnTo>
                  <a:lnTo>
                    <a:pt x="3988" y="0"/>
                  </a:lnTo>
                  <a:close/>
                </a:path>
              </a:pathLst>
            </a:custGeom>
            <a:grpFill/>
            <a:ln w="12419" cap="flat">
              <a:noFill/>
              <a:prstDash val="solid"/>
              <a:miter/>
            </a:ln>
          </p:spPr>
          <p:txBody>
            <a:bodyPr rtlCol="0" anchor="ctr"/>
            <a:lstStyle/>
            <a:p>
              <a:pPr rtl="0"/>
              <a:endParaRPr lang="de-CH" noProof="0" dirty="0"/>
            </a:p>
          </p:txBody>
        </p:sp>
        <p:sp>
          <p:nvSpPr>
            <p:cNvPr id="23" name="Freihandform: Form 22">
              <a:extLst>
                <a:ext uri="{FF2B5EF4-FFF2-40B4-BE49-F238E27FC236}">
                  <a16:creationId xmlns:a16="http://schemas.microsoft.com/office/drawing/2014/main" id="{2406CEAF-7399-4CCB-A322-03F0BA2532F5}"/>
                </a:ext>
              </a:extLst>
            </p:cNvPr>
            <p:cNvSpPr/>
            <p:nvPr/>
          </p:nvSpPr>
          <p:spPr>
            <a:xfrm>
              <a:off x="731837" y="6507088"/>
              <a:ext cx="417960" cy="157638"/>
            </a:xfrm>
            <a:custGeom>
              <a:avLst/>
              <a:gdLst>
                <a:gd name="connsiteX0" fmla="*/ 368612 w 417960"/>
                <a:gd name="connsiteY0" fmla="*/ 0 h 157638"/>
                <a:gd name="connsiteX1" fmla="*/ 356151 w 417960"/>
                <a:gd name="connsiteY1" fmla="*/ 61062 h 157638"/>
                <a:gd name="connsiteX2" fmla="*/ 320760 w 417960"/>
                <a:gd name="connsiteY2" fmla="*/ 61062 h 157638"/>
                <a:gd name="connsiteX3" fmla="*/ 333222 w 417960"/>
                <a:gd name="connsiteY3" fmla="*/ 0 h 157638"/>
                <a:gd name="connsiteX4" fmla="*/ 31652 w 417960"/>
                <a:gd name="connsiteY4" fmla="*/ 0 h 157638"/>
                <a:gd name="connsiteX5" fmla="*/ 0 w 417960"/>
                <a:gd name="connsiteY5" fmla="*/ 157638 h 157638"/>
                <a:gd name="connsiteX6" fmla="*/ 120254 w 417960"/>
                <a:gd name="connsiteY6" fmla="*/ 157638 h 157638"/>
                <a:gd name="connsiteX7" fmla="*/ 128105 w 417960"/>
                <a:gd name="connsiteY7" fmla="*/ 118260 h 157638"/>
                <a:gd name="connsiteX8" fmla="*/ 57074 w 417960"/>
                <a:gd name="connsiteY8" fmla="*/ 118260 h 157638"/>
                <a:gd name="connsiteX9" fmla="*/ 61435 w 417960"/>
                <a:gd name="connsiteY9" fmla="*/ 96577 h 157638"/>
                <a:gd name="connsiteX10" fmla="*/ 132342 w 417960"/>
                <a:gd name="connsiteY10" fmla="*/ 96577 h 157638"/>
                <a:gd name="connsiteX11" fmla="*/ 139569 w 417960"/>
                <a:gd name="connsiteY11" fmla="*/ 61062 h 157638"/>
                <a:gd name="connsiteX12" fmla="*/ 68538 w 417960"/>
                <a:gd name="connsiteY12" fmla="*/ 61062 h 157638"/>
                <a:gd name="connsiteX13" fmla="*/ 72900 w 417960"/>
                <a:gd name="connsiteY13" fmla="*/ 39378 h 157638"/>
                <a:gd name="connsiteX14" fmla="*/ 185303 w 417960"/>
                <a:gd name="connsiteY14" fmla="*/ 39378 h 157638"/>
                <a:gd name="connsiteX15" fmla="*/ 161626 w 417960"/>
                <a:gd name="connsiteY15" fmla="*/ 157638 h 157638"/>
                <a:gd name="connsiteX16" fmla="*/ 210849 w 417960"/>
                <a:gd name="connsiteY16" fmla="*/ 157638 h 157638"/>
                <a:gd name="connsiteX17" fmla="*/ 234651 w 417960"/>
                <a:gd name="connsiteY17" fmla="*/ 39378 h 157638"/>
                <a:gd name="connsiteX18" fmla="*/ 276023 w 417960"/>
                <a:gd name="connsiteY18" fmla="*/ 39378 h 157638"/>
                <a:gd name="connsiteX19" fmla="*/ 252222 w 417960"/>
                <a:gd name="connsiteY19" fmla="*/ 157638 h 157638"/>
                <a:gd name="connsiteX20" fmla="*/ 301569 w 417960"/>
                <a:gd name="connsiteY20" fmla="*/ 157638 h 157638"/>
                <a:gd name="connsiteX21" fmla="*/ 313657 w 417960"/>
                <a:gd name="connsiteY21" fmla="*/ 96577 h 157638"/>
                <a:gd name="connsiteX22" fmla="*/ 349172 w 417960"/>
                <a:gd name="connsiteY22" fmla="*/ 96577 h 157638"/>
                <a:gd name="connsiteX23" fmla="*/ 336960 w 417960"/>
                <a:gd name="connsiteY23" fmla="*/ 157638 h 157638"/>
                <a:gd name="connsiteX24" fmla="*/ 386308 w 417960"/>
                <a:gd name="connsiteY24" fmla="*/ 157638 h 157638"/>
                <a:gd name="connsiteX25" fmla="*/ 417960 w 417960"/>
                <a:gd name="connsiteY25" fmla="*/ 0 h 157638"/>
                <a:gd name="connsiteX26" fmla="*/ 368612 w 417960"/>
                <a:gd name="connsiteY26" fmla="*/ 0 h 15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7960" h="157638">
                  <a:moveTo>
                    <a:pt x="368612" y="0"/>
                  </a:moveTo>
                  <a:lnTo>
                    <a:pt x="356151" y="61062"/>
                  </a:lnTo>
                  <a:lnTo>
                    <a:pt x="320760" y="61062"/>
                  </a:lnTo>
                  <a:lnTo>
                    <a:pt x="333222" y="0"/>
                  </a:lnTo>
                  <a:lnTo>
                    <a:pt x="31652" y="0"/>
                  </a:lnTo>
                  <a:lnTo>
                    <a:pt x="0" y="157638"/>
                  </a:lnTo>
                  <a:lnTo>
                    <a:pt x="120254" y="157638"/>
                  </a:lnTo>
                  <a:lnTo>
                    <a:pt x="128105" y="118260"/>
                  </a:lnTo>
                  <a:lnTo>
                    <a:pt x="57074" y="118260"/>
                  </a:lnTo>
                  <a:lnTo>
                    <a:pt x="61435" y="96577"/>
                  </a:lnTo>
                  <a:lnTo>
                    <a:pt x="132342" y="96577"/>
                  </a:lnTo>
                  <a:lnTo>
                    <a:pt x="139569" y="61062"/>
                  </a:lnTo>
                  <a:lnTo>
                    <a:pt x="68538" y="61062"/>
                  </a:lnTo>
                  <a:lnTo>
                    <a:pt x="72900" y="39378"/>
                  </a:lnTo>
                  <a:lnTo>
                    <a:pt x="185303" y="39378"/>
                  </a:lnTo>
                  <a:lnTo>
                    <a:pt x="161626" y="157638"/>
                  </a:lnTo>
                  <a:lnTo>
                    <a:pt x="210849" y="157638"/>
                  </a:lnTo>
                  <a:lnTo>
                    <a:pt x="234651" y="39378"/>
                  </a:lnTo>
                  <a:lnTo>
                    <a:pt x="276023" y="39378"/>
                  </a:lnTo>
                  <a:lnTo>
                    <a:pt x="252222" y="157638"/>
                  </a:lnTo>
                  <a:lnTo>
                    <a:pt x="301569" y="157638"/>
                  </a:lnTo>
                  <a:lnTo>
                    <a:pt x="313657" y="96577"/>
                  </a:lnTo>
                  <a:lnTo>
                    <a:pt x="349172" y="96577"/>
                  </a:lnTo>
                  <a:lnTo>
                    <a:pt x="336960" y="157638"/>
                  </a:lnTo>
                  <a:lnTo>
                    <a:pt x="386308" y="157638"/>
                  </a:lnTo>
                  <a:lnTo>
                    <a:pt x="417960" y="0"/>
                  </a:lnTo>
                  <a:lnTo>
                    <a:pt x="368612" y="0"/>
                  </a:lnTo>
                  <a:close/>
                </a:path>
              </a:pathLst>
            </a:custGeom>
            <a:grpFill/>
            <a:ln w="12419" cap="flat">
              <a:noFill/>
              <a:prstDash val="solid"/>
              <a:miter/>
            </a:ln>
          </p:spPr>
          <p:txBody>
            <a:bodyPr rtlCol="0" anchor="ctr"/>
            <a:lstStyle/>
            <a:p>
              <a:pPr rtl="0"/>
              <a:endParaRPr lang="de-CH" noProof="0" dirty="0"/>
            </a:p>
          </p:txBody>
        </p:sp>
      </p:grpSp>
    </p:spTree>
    <p:extLst>
      <p:ext uri="{BB962C8B-B14F-4D97-AF65-F5344CB8AC3E}">
        <p14:creationId xmlns:p14="http://schemas.microsoft.com/office/powerpoint/2010/main" val="37168353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F709FE4-B19A-40E5-B994-8FBD3E2929F5}"/>
              </a:ext>
            </a:extLst>
          </p:cNvPr>
          <p:cNvGraphicFramePr>
            <a:graphicFrameLocks noChangeAspect="1"/>
          </p:cNvGraphicFramePr>
          <p:nvPr userDrawn="1">
            <p:custDataLst>
              <p:tags r:id="rId35"/>
            </p:custDataLst>
            <p:extLst>
              <p:ext uri="{D42A27DB-BD31-4B8C-83A1-F6EECF244321}">
                <p14:modId xmlns:p14="http://schemas.microsoft.com/office/powerpoint/2010/main" val="4172240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95" imgH="396" progId="TCLayout.ActiveDocument.1">
                  <p:embed/>
                </p:oleObj>
              </mc:Choice>
              <mc:Fallback>
                <p:oleObj name="think-cell Slide" r:id="rId36" imgW="395" imgH="396" progId="TCLayout.ActiveDocument.1">
                  <p:embed/>
                  <p:pic>
                    <p:nvPicPr>
                      <p:cNvPr id="8" name="Object 7" hidden="1">
                        <a:extLst>
                          <a:ext uri="{FF2B5EF4-FFF2-40B4-BE49-F238E27FC236}">
                            <a16:creationId xmlns:a16="http://schemas.microsoft.com/office/drawing/2014/main" id="{6F709FE4-B19A-40E5-B994-8FBD3E2929F5}"/>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29CEF804-E58C-481B-A606-7D35AF68FF55}"/>
              </a:ext>
            </a:extLst>
          </p:cNvPr>
          <p:cNvSpPr>
            <a:spLocks noGrp="1"/>
          </p:cNvSpPr>
          <p:nvPr>
            <p:ph type="title"/>
          </p:nvPr>
        </p:nvSpPr>
        <p:spPr>
          <a:xfrm>
            <a:off x="731837" y="260351"/>
            <a:ext cx="10728325" cy="900000"/>
          </a:xfrm>
          <a:prstGeom prst="rect">
            <a:avLst/>
          </a:prstGeom>
        </p:spPr>
        <p:txBody>
          <a:bodyPr vert="horz" lIns="0" tIns="0" rIns="0" bIns="0" rtlCol="0" anchor="t" anchorCtr="0">
            <a:noAutofit/>
          </a:bodyPr>
          <a:lstStyle/>
          <a:p>
            <a:r>
              <a:rPr lang="de-CH" noProof="0"/>
              <a:t>Mastertitelformat bearbeiten</a:t>
            </a:r>
            <a:endParaRPr lang="de-CH" noProof="0" dirty="0"/>
          </a:p>
        </p:txBody>
      </p:sp>
      <p:sp>
        <p:nvSpPr>
          <p:cNvPr id="3" name="Textplatzhalter 2">
            <a:extLst>
              <a:ext uri="{FF2B5EF4-FFF2-40B4-BE49-F238E27FC236}">
                <a16:creationId xmlns:a16="http://schemas.microsoft.com/office/drawing/2014/main" id="{65C6EC0D-393C-42F2-B6A7-B19C9B098F2D}"/>
              </a:ext>
            </a:extLst>
          </p:cNvPr>
          <p:cNvSpPr>
            <a:spLocks noGrp="1"/>
          </p:cNvSpPr>
          <p:nvPr>
            <p:ph type="body" idx="1"/>
          </p:nvPr>
        </p:nvSpPr>
        <p:spPr>
          <a:xfrm>
            <a:off x="731837" y="1412875"/>
            <a:ext cx="10728325" cy="4680000"/>
          </a:xfrm>
          <a:prstGeom prst="rect">
            <a:avLst/>
          </a:prstGeom>
        </p:spPr>
        <p:txBody>
          <a:bodyPr vert="horz" lIns="0" tIns="0" rIns="0" bIns="0" rtlCol="0">
            <a:noAutofit/>
          </a:bodyPr>
          <a:lstStyle/>
          <a:p>
            <a:pPr lvl="0"/>
            <a:r>
              <a:rPr lang="de-CH" noProof="0"/>
              <a:t>Mastertextformat bearbeiten</a:t>
            </a:r>
          </a:p>
          <a:p>
            <a:pPr lvl="1"/>
            <a:r>
              <a:rPr lang="de-CH" noProof="0"/>
              <a:t>Zweite Ebene</a:t>
            </a:r>
          </a:p>
          <a:p>
            <a:pPr lvl="2"/>
            <a:r>
              <a:rPr lang="de-CH" noProof="0"/>
              <a:t>Dritte Ebene</a:t>
            </a:r>
          </a:p>
          <a:p>
            <a:pPr lvl="3"/>
            <a:r>
              <a:rPr lang="de-CH" noProof="0"/>
              <a:t>Vierte Ebene</a:t>
            </a:r>
          </a:p>
          <a:p>
            <a:pPr lvl="4"/>
            <a:r>
              <a:rPr lang="de-CH" noProof="0"/>
              <a:t>Fünfte Ebene</a:t>
            </a:r>
            <a:endParaRPr lang="de-CH" noProof="0" dirty="0"/>
          </a:p>
        </p:txBody>
      </p:sp>
      <p:sp>
        <p:nvSpPr>
          <p:cNvPr id="4" name="Datumsplatzhalter 3">
            <a:extLst>
              <a:ext uri="{FF2B5EF4-FFF2-40B4-BE49-F238E27FC236}">
                <a16:creationId xmlns:a16="http://schemas.microsoft.com/office/drawing/2014/main" id="{37C96E51-36C9-4BEE-A761-33378A0DF03D}"/>
              </a:ext>
            </a:extLst>
          </p:cNvPr>
          <p:cNvSpPr>
            <a:spLocks noGrp="1"/>
          </p:cNvSpPr>
          <p:nvPr>
            <p:ph type="dt" sz="half" idx="2"/>
          </p:nvPr>
        </p:nvSpPr>
        <p:spPr>
          <a:xfrm>
            <a:off x="10473692" y="6522444"/>
            <a:ext cx="612000" cy="216000"/>
          </a:xfrm>
          <a:prstGeom prst="rect">
            <a:avLst/>
          </a:prstGeom>
        </p:spPr>
        <p:txBody>
          <a:bodyPr vert="horz" lIns="0" tIns="0" rIns="0" bIns="0" rtlCol="0" anchor="ctr"/>
          <a:lstStyle>
            <a:lvl1pPr algn="l" rtl="0">
              <a:defRPr sz="800">
                <a:solidFill>
                  <a:schemeClr val="tx1"/>
                </a:solidFill>
              </a:defRPr>
            </a:lvl1pPr>
          </a:lstStyle>
          <a:p>
            <a:fld id="{039E7CB0-56A8-4990-A1BF-D476E9079AEC}" type="datetime1">
              <a:rPr lang="de-CH" smtClean="0"/>
              <a:t>29.02.2024</a:t>
            </a:fld>
            <a:endParaRPr lang="de-CH" dirty="0"/>
          </a:p>
        </p:txBody>
      </p:sp>
      <p:sp>
        <p:nvSpPr>
          <p:cNvPr id="5" name="Fußzeilenplatzhalter 4">
            <a:extLst>
              <a:ext uri="{FF2B5EF4-FFF2-40B4-BE49-F238E27FC236}">
                <a16:creationId xmlns:a16="http://schemas.microsoft.com/office/drawing/2014/main" id="{411EC403-6E63-4450-AFDD-66CA49D6CCBE}"/>
              </a:ext>
            </a:extLst>
          </p:cNvPr>
          <p:cNvSpPr>
            <a:spLocks noGrp="1"/>
          </p:cNvSpPr>
          <p:nvPr>
            <p:ph type="ftr" sz="quarter" idx="3"/>
          </p:nvPr>
        </p:nvSpPr>
        <p:spPr>
          <a:xfrm>
            <a:off x="2171700" y="6522444"/>
            <a:ext cx="5400000" cy="216000"/>
          </a:xfrm>
          <a:prstGeom prst="rect">
            <a:avLst/>
          </a:prstGeom>
        </p:spPr>
        <p:txBody>
          <a:bodyPr vert="horz" lIns="0" tIns="0" rIns="0" bIns="0" rtlCol="0" anchor="ctr"/>
          <a:lstStyle>
            <a:lvl1pPr algn="l" rtl="0">
              <a:defRPr sz="800">
                <a:solidFill>
                  <a:schemeClr val="tx1"/>
                </a:solidFill>
              </a:defRPr>
            </a:lvl1pPr>
          </a:lstStyle>
          <a:p>
            <a:r>
              <a:rPr lang="de-CH"/>
              <a:t>Einen Teamkonsens entwickeln und die Arbeitswelt der Zukunft gemeinsam gestalten</a:t>
            </a:r>
            <a:endParaRPr lang="de-CH" dirty="0"/>
          </a:p>
        </p:txBody>
      </p:sp>
      <p:sp>
        <p:nvSpPr>
          <p:cNvPr id="6" name="Foliennummernplatzhalter 5">
            <a:extLst>
              <a:ext uri="{FF2B5EF4-FFF2-40B4-BE49-F238E27FC236}">
                <a16:creationId xmlns:a16="http://schemas.microsoft.com/office/drawing/2014/main" id="{7FDFCC57-7DDC-4B2C-A6BE-862DAF9C9F11}"/>
              </a:ext>
            </a:extLst>
          </p:cNvPr>
          <p:cNvSpPr>
            <a:spLocks noGrp="1"/>
          </p:cNvSpPr>
          <p:nvPr>
            <p:ph type="sldNum" sz="quarter" idx="4"/>
          </p:nvPr>
        </p:nvSpPr>
        <p:spPr>
          <a:xfrm>
            <a:off x="11137585" y="6522444"/>
            <a:ext cx="322577" cy="216000"/>
          </a:xfrm>
          <a:prstGeom prst="rect">
            <a:avLst/>
          </a:prstGeom>
        </p:spPr>
        <p:txBody>
          <a:bodyPr vert="horz" lIns="0" tIns="0" rIns="0" bIns="0" rtlCol="0" anchor="ctr"/>
          <a:lstStyle>
            <a:lvl1pPr algn="r" rtl="0">
              <a:defRPr sz="800">
                <a:solidFill>
                  <a:schemeClr val="tx1"/>
                </a:solidFill>
              </a:defRPr>
            </a:lvl1pPr>
          </a:lstStyle>
          <a:p>
            <a:fld id="{5ACA52AF-F19D-405C-AD5F-7D94B96A5CC3}" type="slidenum">
              <a:rPr lang="de-CH" smtClean="0"/>
              <a:pPr/>
              <a:t>‹#›</a:t>
            </a:fld>
            <a:endParaRPr lang="de-CH" dirty="0"/>
          </a:p>
        </p:txBody>
      </p:sp>
    </p:spTree>
    <p:extLst>
      <p:ext uri="{BB962C8B-B14F-4D97-AF65-F5344CB8AC3E}">
        <p14:creationId xmlns:p14="http://schemas.microsoft.com/office/powerpoint/2010/main" val="40960627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0"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78" r:id="rId20"/>
    <p:sldLayoutId id="2147483679" r:id="rId21"/>
    <p:sldLayoutId id="2147483680" r:id="rId22"/>
    <p:sldLayoutId id="2147483681" r:id="rId23"/>
    <p:sldLayoutId id="2147483682" r:id="rId24"/>
    <p:sldLayoutId id="2147483668" r:id="rId25"/>
    <p:sldLayoutId id="2147483669" r:id="rId26"/>
    <p:sldLayoutId id="2147483670" r:id="rId27"/>
    <p:sldLayoutId id="2147483671" r:id="rId28"/>
    <p:sldLayoutId id="2147483672" r:id="rId29"/>
    <p:sldLayoutId id="2147483673" r:id="rId30"/>
    <p:sldLayoutId id="2147483674" r:id="rId31"/>
    <p:sldLayoutId id="2147483675" r:id="rId32"/>
    <p:sldLayoutId id="2147483676" r:id="rId33"/>
  </p:sldLayoutIdLst>
  <p:hf hdr="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270000" indent="-270000" algn="l" defTabSz="914400" rtl="0" eaLnBrk="1" latinLnBrk="0" hangingPunct="1">
        <a:lnSpc>
          <a:spcPct val="100000"/>
        </a:lnSpc>
        <a:spcBef>
          <a:spcPts val="1000"/>
        </a:spcBef>
        <a:buFont typeface="Arial" panose="020B0604020202020204" pitchFamily="34" charset="0"/>
        <a:buChar char="•"/>
        <a:defRPr sz="180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461">
          <p15:clr>
            <a:srgbClr val="F26B43"/>
          </p15:clr>
        </p15:guide>
        <p15:guide id="3" pos="7219">
          <p15:clr>
            <a:srgbClr val="F26B43"/>
          </p15:clr>
        </p15:guide>
        <p15:guide id="4" orient="horz" pos="164">
          <p15:clr>
            <a:srgbClr val="F26B43"/>
          </p15:clr>
        </p15:guide>
        <p15:guide id="5" orient="horz" pos="890">
          <p15:clr>
            <a:srgbClr val="F26B43"/>
          </p15:clr>
        </p15:guide>
        <p15:guide id="6" orient="horz" pos="4201">
          <p15:clr>
            <a:srgbClr val="F26B43"/>
          </p15:clr>
        </p15:guide>
        <p15:guide id="7"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5.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34.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44.xml"/><Relationship Id="rId6" Type="http://schemas.openxmlformats.org/officeDocument/2006/relationships/hyperlink" Target="https://ethz.ch/staffnet/de/anstellung-und-arbeit/international/arbeiten-im-internationalen-kontext.html" TargetMode="External"/><Relationship Id="rId5" Type="http://schemas.openxmlformats.org/officeDocument/2006/relationships/image" Target="../media/image2.emf"/><Relationship Id="rId4" Type="http://schemas.openxmlformats.org/officeDocument/2006/relationships/oleObject" Target="../embeddings/oleObject43.bin"/></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18.svg"/><Relationship Id="rId2" Type="http://schemas.openxmlformats.org/officeDocument/2006/relationships/slideLayout" Target="../slideLayouts/slideLayout7.xml"/><Relationship Id="rId1" Type="http://schemas.openxmlformats.org/officeDocument/2006/relationships/tags" Target="../tags/tag45.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emf"/><Relationship Id="rId10" Type="http://schemas.openxmlformats.org/officeDocument/2006/relationships/image" Target="../media/image21.png"/><Relationship Id="rId4" Type="http://schemas.openxmlformats.org/officeDocument/2006/relationships/oleObject" Target="../embeddings/oleObject44.bin"/><Relationship Id="rId9" Type="http://schemas.openxmlformats.org/officeDocument/2006/relationships/image" Target="../media/image20.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4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47.xml"/><Relationship Id="rId5" Type="http://schemas.openxmlformats.org/officeDocument/2006/relationships/image" Target="../media/image2.emf"/><Relationship Id="rId4" Type="http://schemas.openxmlformats.org/officeDocument/2006/relationships/oleObject" Target="../embeddings/oleObject4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47.bin"/></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5.xml"/><Relationship Id="rId7" Type="http://schemas.openxmlformats.org/officeDocument/2006/relationships/image" Target="../media/image23.jpeg"/><Relationship Id="rId2" Type="http://schemas.openxmlformats.org/officeDocument/2006/relationships/slideLayout" Target="../slideLayouts/slideLayout7.xml"/><Relationship Id="rId1" Type="http://schemas.openxmlformats.org/officeDocument/2006/relationships/tags" Target="../tags/tag49.xml"/><Relationship Id="rId6" Type="http://schemas.openxmlformats.org/officeDocument/2006/relationships/hyperlink" Target="http://tscheck.in/" TargetMode="External"/><Relationship Id="rId11" Type="http://schemas.openxmlformats.org/officeDocument/2006/relationships/image" Target="../media/image27.png"/><Relationship Id="rId5" Type="http://schemas.openxmlformats.org/officeDocument/2006/relationships/image" Target="../media/image2.emf"/><Relationship Id="rId10" Type="http://schemas.openxmlformats.org/officeDocument/2006/relationships/image" Target="../media/image26.png"/><Relationship Id="rId4" Type="http://schemas.openxmlformats.org/officeDocument/2006/relationships/oleObject" Target="../embeddings/oleObject48.bin"/><Relationship Id="rId9" Type="http://schemas.openxmlformats.org/officeDocument/2006/relationships/image" Target="../media/image25.png"/></Relationships>
</file>

<file path=ppt/slides/_rels/slide1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hyperlink" Target="https://www.workshop-spiele.de/5-tools-fuer-online-warm-ups/tscheck-in-online-kennenlern-fragen-generator/" TargetMode="External"/><Relationship Id="rId7" Type="http://schemas.openxmlformats.org/officeDocument/2006/relationships/image" Target="../media/image26.png"/><Relationship Id="rId2" Type="http://schemas.openxmlformats.org/officeDocument/2006/relationships/hyperlink" Target="http://tscheck.in/" TargetMode="External"/><Relationship Id="rId1" Type="http://schemas.openxmlformats.org/officeDocument/2006/relationships/slideLayout" Target="../slideLayouts/slideLayout7.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 Id="rId9" Type="http://schemas.openxmlformats.org/officeDocument/2006/relationships/hyperlink" Target="https://www.workshop-spiele.de/" TargetMode="Externa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49.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51.xml"/><Relationship Id="rId6" Type="http://schemas.openxmlformats.org/officeDocument/2006/relationships/image" Target="../media/image28.jpeg"/><Relationship Id="rId5" Type="http://schemas.openxmlformats.org/officeDocument/2006/relationships/image" Target="../media/image2.emf"/><Relationship Id="rId4" Type="http://schemas.openxmlformats.org/officeDocument/2006/relationships/oleObject" Target="../embeddings/oleObject50.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52.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5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35.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53.xml"/><Relationship Id="rId5" Type="http://schemas.openxmlformats.org/officeDocument/2006/relationships/image" Target="../media/image2.emf"/><Relationship Id="rId4" Type="http://schemas.openxmlformats.org/officeDocument/2006/relationships/oleObject" Target="../embeddings/oleObject5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54.xml"/><Relationship Id="rId5" Type="http://schemas.openxmlformats.org/officeDocument/2006/relationships/image" Target="../media/image2.emf"/><Relationship Id="rId4" Type="http://schemas.openxmlformats.org/officeDocument/2006/relationships/oleObject" Target="../embeddings/oleObject5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55.xml"/><Relationship Id="rId5" Type="http://schemas.openxmlformats.org/officeDocument/2006/relationships/image" Target="../media/image2.emf"/><Relationship Id="rId4" Type="http://schemas.openxmlformats.org/officeDocument/2006/relationships/oleObject" Target="../embeddings/oleObject54.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ags" Target="../tags/tag56.xml"/><Relationship Id="rId6" Type="http://schemas.openxmlformats.org/officeDocument/2006/relationships/image" Target="../media/image31.jpg"/><Relationship Id="rId5" Type="http://schemas.openxmlformats.org/officeDocument/2006/relationships/image" Target="../media/image2.emf"/><Relationship Id="rId4" Type="http://schemas.openxmlformats.org/officeDocument/2006/relationships/oleObject" Target="../embeddings/oleObject55.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57.x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7.xml"/><Relationship Id="rId1" Type="http://schemas.openxmlformats.org/officeDocument/2006/relationships/tags" Target="../tags/tag58.xml"/><Relationship Id="rId6" Type="http://schemas.openxmlformats.org/officeDocument/2006/relationships/image" Target="../media/image32.png"/><Relationship Id="rId5" Type="http://schemas.openxmlformats.org/officeDocument/2006/relationships/image" Target="../media/image2.emf"/><Relationship Id="rId4" Type="http://schemas.openxmlformats.org/officeDocument/2006/relationships/oleObject" Target="../embeddings/oleObject57.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59.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58.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ags" Target="../tags/tag60.xml"/><Relationship Id="rId6" Type="http://schemas.openxmlformats.org/officeDocument/2006/relationships/image" Target="../media/image33.jpe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61.xml"/><Relationship Id="rId5" Type="http://schemas.openxmlformats.org/officeDocument/2006/relationships/image" Target="../media/image2.emf"/><Relationship Id="rId4" Type="http://schemas.openxmlformats.org/officeDocument/2006/relationships/oleObject" Target="../embeddings/oleObject60.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30.svg"/><Relationship Id="rId2" Type="http://schemas.openxmlformats.org/officeDocument/2006/relationships/slideLayout" Target="../slideLayouts/slideLayout6.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6.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36.bin"/></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6.xml"/><Relationship Id="rId1" Type="http://schemas.openxmlformats.org/officeDocument/2006/relationships/tags" Target="../tags/tag63.xm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7.xml"/><Relationship Id="rId1" Type="http://schemas.openxmlformats.org/officeDocument/2006/relationships/tags" Target="../tags/tag64.xml"/><Relationship Id="rId6" Type="http://schemas.openxmlformats.org/officeDocument/2006/relationships/image" Target="../media/image34.jpg"/><Relationship Id="rId5" Type="http://schemas.openxmlformats.org/officeDocument/2006/relationships/image" Target="../media/image2.emf"/><Relationship Id="rId4" Type="http://schemas.openxmlformats.org/officeDocument/2006/relationships/oleObject" Target="../embeddings/oleObject6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65.xml"/><Relationship Id="rId5" Type="http://schemas.openxmlformats.org/officeDocument/2006/relationships/image" Target="../media/image2.emf"/><Relationship Id="rId4" Type="http://schemas.openxmlformats.org/officeDocument/2006/relationships/oleObject" Target="../embeddings/oleObject64.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slideLayout" Target="../slideLayouts/slideLayout6.xml"/><Relationship Id="rId1" Type="http://schemas.openxmlformats.org/officeDocument/2006/relationships/tags" Target="../tags/tag38.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2.emf"/><Relationship Id="rId10" Type="http://schemas.openxmlformats.org/officeDocument/2006/relationships/image" Target="../media/image14.png"/><Relationship Id="rId4" Type="http://schemas.openxmlformats.org/officeDocument/2006/relationships/oleObject" Target="../embeddings/oleObject37.bin"/><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39.xml"/><Relationship Id="rId5" Type="http://schemas.openxmlformats.org/officeDocument/2006/relationships/image" Target="../media/image2.emf"/><Relationship Id="rId4" Type="http://schemas.openxmlformats.org/officeDocument/2006/relationships/oleObject" Target="../embeddings/oleObject38.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39.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41.xml"/><Relationship Id="rId5" Type="http://schemas.openxmlformats.org/officeDocument/2006/relationships/image" Target="../media/image2.emf"/><Relationship Id="rId4" Type="http://schemas.openxmlformats.org/officeDocument/2006/relationships/oleObject" Target="../embeddings/oleObject40.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4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xml"/><Relationship Id="rId1" Type="http://schemas.openxmlformats.org/officeDocument/2006/relationships/tags" Target="../tags/tag43.xml"/><Relationship Id="rId6" Type="http://schemas.openxmlformats.org/officeDocument/2006/relationships/image" Target="../media/image9.png"/><Relationship Id="rId5" Type="http://schemas.openxmlformats.org/officeDocument/2006/relationships/image" Target="../media/image2.emf"/><Relationship Id="rId4" Type="http://schemas.openxmlformats.org/officeDocument/2006/relationships/oleObject" Target="../embeddings/oleObject4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72FE01-FDAF-E163-444D-9DE29DB2312E}"/>
              </a:ext>
            </a:extLst>
          </p:cNvPr>
          <p:cNvGraphicFramePr>
            <a:graphicFrameLocks noChangeAspect="1"/>
          </p:cNvGraphicFramePr>
          <p:nvPr>
            <p:custDataLst>
              <p:tags r:id="rId1"/>
            </p:custDataLst>
            <p:extLst>
              <p:ext uri="{D42A27DB-BD31-4B8C-83A1-F6EECF244321}">
                <p14:modId xmlns:p14="http://schemas.microsoft.com/office/powerpoint/2010/main" val="1568007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0372FE01-FDAF-E163-444D-9DE29DB231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E1F9D0C-A2DE-4320-86DB-E9507EE39331}"/>
              </a:ext>
            </a:extLst>
          </p:cNvPr>
          <p:cNvPicPr>
            <a:picLocks noChangeAspect="1"/>
          </p:cNvPicPr>
          <p:nvPr/>
        </p:nvPicPr>
        <p:blipFill>
          <a:blip r:embed="rId6"/>
          <a:stretch>
            <a:fillRect/>
          </a:stretch>
        </p:blipFill>
        <p:spPr>
          <a:xfrm>
            <a:off x="731837" y="983725"/>
            <a:ext cx="10728326" cy="5332867"/>
          </a:xfrm>
          <a:prstGeom prst="rect">
            <a:avLst/>
          </a:prstGeom>
        </p:spPr>
      </p:pic>
      <p:sp>
        <p:nvSpPr>
          <p:cNvPr id="8" name="Titel 2">
            <a:extLst>
              <a:ext uri="{FF2B5EF4-FFF2-40B4-BE49-F238E27FC236}">
                <a16:creationId xmlns:a16="http://schemas.microsoft.com/office/drawing/2014/main" id="{AC1FB292-90C1-439C-8480-EB4116CF2374}"/>
              </a:ext>
            </a:extLst>
          </p:cNvPr>
          <p:cNvSpPr txBox="1">
            <a:spLocks/>
          </p:cNvSpPr>
          <p:nvPr/>
        </p:nvSpPr>
        <p:spPr>
          <a:xfrm>
            <a:off x="0" y="3331029"/>
            <a:ext cx="5765800" cy="2547258"/>
          </a:xfrm>
          <a:prstGeom prst="rect">
            <a:avLst/>
          </a:prstGeom>
          <a:solidFill>
            <a:schemeClr val="accent3"/>
          </a:solidFill>
          <a:ln>
            <a:solidFill>
              <a:schemeClr val="accent3"/>
            </a:solidFill>
          </a:ln>
        </p:spPr>
        <p:txBody>
          <a:bodyPr vert="horz" lIns="1080000" tIns="252000" rIns="0" bIns="0" rtlCol="0" anchor="t" anchorCtr="0">
            <a:noAutofit/>
          </a:bodyPr>
          <a:lstStyle>
            <a:lvl1pPr algn="l" defTabSz="914400" rtl="0" eaLnBrk="1" latinLnBrk="0" hangingPunct="1">
              <a:lnSpc>
                <a:spcPct val="100000"/>
              </a:lnSpc>
              <a:spcBef>
                <a:spcPct val="0"/>
              </a:spcBef>
              <a:buNone/>
              <a:defRPr sz="3600" kern="1200">
                <a:solidFill>
                  <a:schemeClr val="bg1"/>
                </a:solidFill>
                <a:latin typeface="+mj-lt"/>
                <a:ea typeface="+mj-ea"/>
                <a:cs typeface="+mj-cs"/>
              </a:defRPr>
            </a:lvl1pPr>
          </a:lstStyle>
          <a:p>
            <a:pPr algn="l">
              <a:spcAft>
                <a:spcPts val="1200"/>
              </a:spcAft>
            </a:pPr>
            <a:r>
              <a:rPr lang="de-CH" sz="2800" b="0" i="0" u="none" baseline="0" dirty="0"/>
              <a:t>Einen Teamkonsens entwickeln und die Arbeitswelt der Zukunft gemeinsam gestalten</a:t>
            </a:r>
          </a:p>
          <a:p>
            <a:pPr algn="l">
              <a:spcAft>
                <a:spcPts val="1200"/>
              </a:spcAft>
            </a:pPr>
            <a:r>
              <a:rPr lang="de-CH" sz="1400" dirty="0">
                <a:cs typeface="Arial"/>
              </a:rPr>
              <a:t>Februar 2024</a:t>
            </a:r>
            <a:endParaRPr lang="de-CH" dirty="0"/>
          </a:p>
        </p:txBody>
      </p:sp>
      <p:sp>
        <p:nvSpPr>
          <p:cNvPr id="4" name="Text Placeholder 5">
            <a:extLst>
              <a:ext uri="{FF2B5EF4-FFF2-40B4-BE49-F238E27FC236}">
                <a16:creationId xmlns:a16="http://schemas.microsoft.com/office/drawing/2014/main" id="{1C64F35D-60B1-47E8-8AA1-15FBD62E6694}"/>
              </a:ext>
            </a:extLst>
          </p:cNvPr>
          <p:cNvSpPr txBox="1">
            <a:spLocks/>
          </p:cNvSpPr>
          <p:nvPr/>
        </p:nvSpPr>
        <p:spPr>
          <a:xfrm>
            <a:off x="9696449" y="316800"/>
            <a:ext cx="180000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15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CH" b="0" i="0" u="none" baseline="0"/>
              <a:t>VPPL</a:t>
            </a:r>
            <a:endParaRPr lang="de-CH" b="0" i="0" u="none" baseline="0" dirty="0"/>
          </a:p>
        </p:txBody>
      </p:sp>
    </p:spTree>
    <p:extLst>
      <p:ext uri="{BB962C8B-B14F-4D97-AF65-F5344CB8AC3E}">
        <p14:creationId xmlns:p14="http://schemas.microsoft.com/office/powerpoint/2010/main" val="32338723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900C09A-BEC2-F04F-B75E-1370CB4A0336}"/>
              </a:ext>
            </a:extLst>
          </p:cNvPr>
          <p:cNvGraphicFramePr>
            <a:graphicFrameLocks noChangeAspect="1"/>
          </p:cNvGraphicFramePr>
          <p:nvPr>
            <p:custDataLst>
              <p:tags r:id="rId1"/>
            </p:custDataLst>
            <p:extLst>
              <p:ext uri="{D42A27DB-BD31-4B8C-83A1-F6EECF244321}">
                <p14:modId xmlns:p14="http://schemas.microsoft.com/office/powerpoint/2010/main" val="1015337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8900C09A-BEC2-F04F-B75E-1370CB4A03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de-CH" b="0" i="0" u="none" baseline="0" dirty="0"/>
              <a:t>Grundsätze</a:t>
            </a:r>
            <a:br>
              <a:rPr lang="de-CH" dirty="0"/>
            </a:br>
            <a:endParaRPr lang="de-CH" sz="2000" b="0" i="0" u="none" baseline="0" dirty="0"/>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a:xfrm>
            <a:off x="764682" y="1189530"/>
            <a:ext cx="10905687" cy="4680000"/>
          </a:xfrm>
        </p:spPr>
        <p:txBody>
          <a:bodyPr vert="horz" lIns="0" tIns="0" rIns="0" bIns="0" rtlCol="0" anchor="t">
            <a:noAutofit/>
          </a:bodyPr>
          <a:lstStyle/>
          <a:p>
            <a:pPr marL="285750" indent="-285750" algn="l">
              <a:buFont typeface="Arial" panose="020B0604020202020204" pitchFamily="34" charset="0"/>
              <a:buChar char="•"/>
            </a:pPr>
            <a:r>
              <a:rPr lang="de-CH" sz="1600" b="0" i="0" u="none" baseline="0" dirty="0"/>
              <a:t>Homeoffice basiert auf Vertrauen und bedeutet für Mitarbeitende ein hohes Mass an Eigenverantwortung, da berufliche Tätigkeiten in der privaten Umgebung ausgeführt werden. </a:t>
            </a:r>
          </a:p>
          <a:p>
            <a:pPr marL="285750" indent="-285750" algn="l">
              <a:buFont typeface="Arial" panose="020B0604020202020204" pitchFamily="34" charset="0"/>
              <a:buChar char="•"/>
            </a:pPr>
            <a:r>
              <a:rPr lang="de-CH" sz="1600" b="0" i="0" u="none" baseline="0" dirty="0"/>
              <a:t>Homeoffice liegt vor, wenn Mitarbeitende regelmässig oder sporadisch von zu Hause arbeiten, ohne dass der vertraglich vereinbarte Arbeitsort angepasst wird.</a:t>
            </a:r>
          </a:p>
          <a:p>
            <a:pPr marL="285750" indent="-285750" algn="l">
              <a:buFont typeface="Arial" panose="020B0604020202020204" pitchFamily="34" charset="0"/>
              <a:buChar char="•"/>
            </a:pPr>
            <a:r>
              <a:rPr lang="de-CH" sz="1600" b="0" i="0" u="none" baseline="0" dirty="0"/>
              <a:t>Homeoffice steht grundsätzlich allen ETH-Mitarbeitenden mit Arbeits- und Wohnort Schweiz offen, unabhängig von Anstellungsvertrag und sofern betriebliche Erfordernisse dem nicht entgegenstehen. Für </a:t>
            </a:r>
            <a:r>
              <a:rPr lang="de-CH" sz="1600" b="0" i="0" u="none" baseline="0" dirty="0" err="1"/>
              <a:t>Grenzgänger:innen</a:t>
            </a:r>
            <a:r>
              <a:rPr lang="de-CH" sz="1600" b="0" i="0" u="none" baseline="0" dirty="0"/>
              <a:t> und Arbeiten im Ausland (Arbeitsort nicht in der Schweiz) finden Sie weitere Informationen </a:t>
            </a:r>
            <a:r>
              <a:rPr lang="de-CH" sz="1600" b="0" i="0" u="none" baseline="0" dirty="0">
                <a:hlinkClick r:id="rId6"/>
              </a:rPr>
              <a:t>hier</a:t>
            </a:r>
            <a:r>
              <a:rPr lang="de-CH" sz="1600" b="0" i="0" u="none" baseline="0" dirty="0"/>
              <a:t>. Es besteht kein genereller Anspruch auf Homeoffice. </a:t>
            </a:r>
          </a:p>
          <a:p>
            <a:pPr marL="285750" indent="-285750" algn="l">
              <a:buFont typeface="Arial" panose="020B0604020202020204" pitchFamily="34" charset="0"/>
              <a:buChar char="•"/>
            </a:pPr>
            <a:r>
              <a:rPr lang="de-CH" sz="1600" b="0" i="0" u="none" baseline="0" dirty="0"/>
              <a:t>Die Schulleitung der ETH Zürich wünscht, dass vorgesetzte Personen den Mitarbeitenden dann, wenn Homeoffice umsetzbar ist, auch die Arbeit im Homeoffice zu ermöglichen. Das ausschliessliche Arbeiten im Homeoffice (100%) ist grundsätzlich nicht erwünscht. Die Entscheidung über Homeoffice liegt bei den vorgesetzten Personen.</a:t>
            </a: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E437D588-07BF-41E4-9445-83C0F67F8509}" type="datetime1">
              <a:rPr lang="de-CH" smtClean="0"/>
              <a:t>29.02.2024</a:t>
            </a:fld>
            <a:endParaRPr lang="de-CH"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de-CH" smtClean="0"/>
              <a:pPr algn="r"/>
              <a:t>10</a:t>
            </a:fld>
            <a:endParaRPr lang="de-CH" noProof="0" dirty="0"/>
          </a:p>
        </p:txBody>
      </p:sp>
      <p:sp>
        <p:nvSpPr>
          <p:cNvPr id="12" name="Rechteck 5">
            <a:extLst>
              <a:ext uri="{FF2B5EF4-FFF2-40B4-BE49-F238E27FC236}">
                <a16:creationId xmlns:a16="http://schemas.microsoft.com/office/drawing/2014/main" id="{B77F3B61-CF9E-0A76-1E14-43DB665C527A}"/>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282434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EE29B1-71E6-4C96-BE1D-B1770E8F62DA}"/>
              </a:ext>
            </a:extLst>
          </p:cNvPr>
          <p:cNvGraphicFramePr>
            <a:graphicFrameLocks noChangeAspect="1"/>
          </p:cNvGraphicFramePr>
          <p:nvPr>
            <p:custDataLst>
              <p:tags r:id="rId1"/>
            </p:custDataLst>
            <p:extLst>
              <p:ext uri="{D42A27DB-BD31-4B8C-83A1-F6EECF244321}">
                <p14:modId xmlns:p14="http://schemas.microsoft.com/office/powerpoint/2010/main" val="3387419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D1EE29B1-71E6-4C96-BE1D-B1770E8F62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umsplatzhalter 3">
            <a:extLst>
              <a:ext uri="{FF2B5EF4-FFF2-40B4-BE49-F238E27FC236}">
                <a16:creationId xmlns:a16="http://schemas.microsoft.com/office/drawing/2014/main" id="{B5E241A7-3157-41BC-8F34-087641E61DF5}"/>
              </a:ext>
            </a:extLst>
          </p:cNvPr>
          <p:cNvSpPr>
            <a:spLocks noGrp="1"/>
          </p:cNvSpPr>
          <p:nvPr>
            <p:ph type="dt" sz="half" idx="10"/>
          </p:nvPr>
        </p:nvSpPr>
        <p:spPr/>
        <p:txBody>
          <a:bodyPr/>
          <a:lstStyle/>
          <a:p>
            <a:pPr marL="0" marR="0" lvl="0" indent="0" algn="l" defTabSz="914400" eaLnBrk="1" fontAlgn="auto" latinLnBrk="0" hangingPunct="1">
              <a:lnSpc>
                <a:spcPct val="100000"/>
              </a:lnSpc>
              <a:spcBef>
                <a:spcPts val="0"/>
              </a:spcBef>
              <a:spcAft>
                <a:spcPts val="0"/>
              </a:spcAft>
              <a:buClrTx/>
              <a:buSzTx/>
              <a:buFontTx/>
              <a:buNone/>
              <a:tabLst/>
              <a:defRPr/>
            </a:pPr>
            <a:fld id="{11E32E8F-AD9F-4DA3-B67C-923DF8B6B799}" type="datetime1">
              <a:rPr kumimoji="0" lang="de-CH" sz="800" b="0" i="0" u="none" strike="noStrike" kern="1200" cap="none" spc="0" normalizeH="0" baseline="0" smtClean="0">
                <a:ln>
                  <a:noFill/>
                </a:ln>
                <a:solidFill>
                  <a:prstClr val="black"/>
                </a:solidFill>
                <a:effectLst/>
                <a:uLnTx/>
                <a:uFillTx/>
                <a:latin typeface="Arial" panose="020B0604020202020204"/>
                <a:ea typeface="+mn-ea"/>
                <a:cs typeface="+mn-cs"/>
              </a:rPr>
              <a:t>29.02.2024</a:t>
            </a:fld>
            <a:endParaRPr kumimoji="0" lang="de-CH"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 name="Foliennummernplatzhalter 5">
            <a:extLst>
              <a:ext uri="{FF2B5EF4-FFF2-40B4-BE49-F238E27FC236}">
                <a16:creationId xmlns:a16="http://schemas.microsoft.com/office/drawing/2014/main" id="{C3EB1F58-4C36-41B8-9CB6-6A2B034CA338}"/>
              </a:ext>
            </a:extLst>
          </p:cNvPr>
          <p:cNvSpPr>
            <a:spLocks noGrp="1"/>
          </p:cNvSpPr>
          <p:nvPr>
            <p:ph type="sldNum" sz="quarter" idx="12"/>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5ACA52AF-F19D-405C-AD5F-7D94B96A5CC3}" type="slidenum">
              <a:rPr kumimoji="0" lang="de-CH" sz="800" b="0" i="0" u="none" strike="noStrike" kern="1200" cap="none" spc="0" normalizeH="0" baseline="0" smtClean="0">
                <a:ln>
                  <a:noFill/>
                </a:ln>
                <a:solidFill>
                  <a:prstClr val="black"/>
                </a:solidFill>
                <a:effectLst/>
                <a:uLnTx/>
                <a:uFillTx/>
                <a:latin typeface="Arial" panose="020B0604020202020204"/>
                <a:ea typeface="+mn-ea"/>
                <a:cs typeface="+mn-cs"/>
              </a:rPr>
              <a:pPr marL="0" marR="0" lvl="0" indent="0" algn="r" defTabSz="914400" eaLnBrk="1" fontAlgn="auto" latinLnBrk="0" hangingPunct="1">
                <a:lnSpc>
                  <a:spcPct val="100000"/>
                </a:lnSpc>
                <a:spcBef>
                  <a:spcPts val="0"/>
                </a:spcBef>
                <a:spcAft>
                  <a:spcPts val="0"/>
                </a:spcAft>
                <a:buClrTx/>
                <a:buSzTx/>
                <a:buFontTx/>
                <a:buNone/>
                <a:tabLst/>
                <a:defRPr/>
              </a:pPr>
              <a:t>11</a:t>
            </a:fld>
            <a:endParaRPr kumimoji="0" lang="de-CH" sz="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744D8210-A88F-4810-B940-4014074D88BF}"/>
              </a:ext>
            </a:extLst>
          </p:cNvPr>
          <p:cNvGrpSpPr/>
          <p:nvPr/>
        </p:nvGrpSpPr>
        <p:grpSpPr>
          <a:xfrm>
            <a:off x="731771" y="1201829"/>
            <a:ext cx="1180758" cy="1168988"/>
            <a:chOff x="731771" y="1201829"/>
            <a:chExt cx="1180758" cy="1168988"/>
          </a:xfrm>
        </p:grpSpPr>
        <p:sp>
          <p:nvSpPr>
            <p:cNvPr id="10" name="Oval 7">
              <a:extLst>
                <a:ext uri="{FF2B5EF4-FFF2-40B4-BE49-F238E27FC236}">
                  <a16:creationId xmlns:a16="http://schemas.microsoft.com/office/drawing/2014/main" id="{138B6753-7E47-4337-A6F5-5627C2C413FE}"/>
                </a:ext>
              </a:extLst>
            </p:cNvPr>
            <p:cNvSpPr/>
            <p:nvPr/>
          </p:nvSpPr>
          <p:spPr>
            <a:xfrm>
              <a:off x="731771" y="1201829"/>
              <a:ext cx="1180758" cy="116898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2" name="Graphic 30" descr="Bullseye outline">
              <a:extLst>
                <a:ext uri="{FF2B5EF4-FFF2-40B4-BE49-F238E27FC236}">
                  <a16:creationId xmlns:a16="http://schemas.microsoft.com/office/drawing/2014/main" id="{9E3EC575-CB3E-46FD-88AC-583E8090BE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5460" y="1322244"/>
              <a:ext cx="914400" cy="914400"/>
            </a:xfrm>
            <a:prstGeom prst="rect">
              <a:avLst/>
            </a:prstGeom>
          </p:spPr>
        </p:pic>
      </p:grpSp>
      <p:sp>
        <p:nvSpPr>
          <p:cNvPr id="14" name="Oval 9">
            <a:extLst>
              <a:ext uri="{FF2B5EF4-FFF2-40B4-BE49-F238E27FC236}">
                <a16:creationId xmlns:a16="http://schemas.microsoft.com/office/drawing/2014/main" id="{561B912D-C211-4E3C-BB22-7EFACE7DA23D}"/>
              </a:ext>
            </a:extLst>
          </p:cNvPr>
          <p:cNvSpPr/>
          <p:nvPr/>
        </p:nvSpPr>
        <p:spPr>
          <a:xfrm>
            <a:off x="731771" y="2936701"/>
            <a:ext cx="1180758" cy="116898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16" name="Graphic 28" descr="Help outline">
            <a:extLst>
              <a:ext uri="{FF2B5EF4-FFF2-40B4-BE49-F238E27FC236}">
                <a16:creationId xmlns:a16="http://schemas.microsoft.com/office/drawing/2014/main" id="{68993CAD-01D3-49AC-922B-CF6918E3B8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4950" y="3060555"/>
            <a:ext cx="914400" cy="914400"/>
          </a:xfrm>
          <a:prstGeom prst="rect">
            <a:avLst/>
          </a:prstGeom>
        </p:spPr>
      </p:pic>
      <p:sp>
        <p:nvSpPr>
          <p:cNvPr id="18" name="Oval 8">
            <a:extLst>
              <a:ext uri="{FF2B5EF4-FFF2-40B4-BE49-F238E27FC236}">
                <a16:creationId xmlns:a16="http://schemas.microsoft.com/office/drawing/2014/main" id="{CD141509-65BB-4E73-9F6E-7D1C39894F21}"/>
              </a:ext>
            </a:extLst>
          </p:cNvPr>
          <p:cNvSpPr/>
          <p:nvPr/>
        </p:nvSpPr>
        <p:spPr>
          <a:xfrm>
            <a:off x="731771" y="4856924"/>
            <a:ext cx="1180758" cy="116898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CH" sz="9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pic>
        <p:nvPicPr>
          <p:cNvPr id="20" name="Graphic 32" descr="Lightbulb outline">
            <a:extLst>
              <a:ext uri="{FF2B5EF4-FFF2-40B4-BE49-F238E27FC236}">
                <a16:creationId xmlns:a16="http://schemas.microsoft.com/office/drawing/2014/main" id="{8D7E286F-D8F6-4351-A36B-AFE55DB2E4B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64950" y="4984218"/>
            <a:ext cx="914400" cy="914400"/>
          </a:xfrm>
          <a:prstGeom prst="rect">
            <a:avLst/>
          </a:prstGeom>
        </p:spPr>
      </p:pic>
      <p:sp>
        <p:nvSpPr>
          <p:cNvPr id="37" name="TextBox 14">
            <a:extLst>
              <a:ext uri="{FF2B5EF4-FFF2-40B4-BE49-F238E27FC236}">
                <a16:creationId xmlns:a16="http://schemas.microsoft.com/office/drawing/2014/main" id="{166FA689-72C3-40C8-B811-164178E71FB6}"/>
              </a:ext>
            </a:extLst>
          </p:cNvPr>
          <p:cNvSpPr txBox="1"/>
          <p:nvPr/>
        </p:nvSpPr>
        <p:spPr>
          <a:xfrm>
            <a:off x="2210777" y="963962"/>
            <a:ext cx="9249385" cy="5575885"/>
          </a:xfrm>
          <a:prstGeom prst="rect">
            <a:avLst/>
          </a:prstGeom>
          <a:noFill/>
        </p:spPr>
        <p:txBody>
          <a:bodyPr wrap="square" lIns="91440" tIns="0" rIns="91440" bIns="45720" rtlCol="0" anchor="t">
            <a:spAutoFit/>
          </a:bodyPr>
          <a:lstStyle/>
          <a:p>
            <a:pPr algn="l">
              <a:spcAft>
                <a:spcPts val="400"/>
              </a:spcAft>
            </a:pPr>
            <a:r>
              <a:rPr kumimoji="0" lang="de-CH" sz="1600" b="1" i="0" u="none" strike="noStrike" kern="1200" cap="none" spc="-15" normalizeH="0" baseline="0" dirty="0">
                <a:ln>
                  <a:noFill/>
                </a:ln>
                <a:solidFill>
                  <a:srgbClr val="000000"/>
                </a:solidFill>
                <a:effectLst/>
                <a:uLnTx/>
                <a:uFillTx/>
                <a:latin typeface="Arial" panose="020B0604020202020204"/>
                <a:ea typeface="+mn-ea"/>
                <a:cs typeface="Poppins"/>
              </a:rPr>
              <a:t>Wieso eigentlich?</a:t>
            </a:r>
          </a:p>
          <a:p>
            <a:pPr algn="l">
              <a:spcAft>
                <a:spcPts val="400"/>
              </a:spcAft>
            </a:pPr>
            <a:r>
              <a:rPr kumimoji="0" lang="de-CH" sz="1600" i="0" u="none" strike="noStrike" kern="1200" cap="none" spc="-15" normalizeH="0" baseline="0" dirty="0">
                <a:ln>
                  <a:noFill/>
                </a:ln>
                <a:solidFill>
                  <a:srgbClr val="000000"/>
                </a:solidFill>
                <a:effectLst/>
                <a:uLnTx/>
                <a:uFillTx/>
                <a:latin typeface="Arial" panose="020B0604020202020204"/>
                <a:ea typeface="+mn-ea"/>
                <a:cs typeface="Poppins"/>
              </a:rPr>
              <a:t>Die sich entwickelnde Arbeitslandschaft, die von Faktoren wie dem Ausbau der digitalen Infrastruktur, räumlichen Beschränkungen und den Auswirkungen der Pandemie auf das standortunabhängige Arbeiten beeinflusst wird, erfordert eine effektive Kommunikation. Nur so können Teams und Führungskräfte einen Konsens erzielen und einen Weg festlegen, der ihren spezifischen Anforderungen und Zielen entspricht.</a:t>
            </a:r>
          </a:p>
          <a:p>
            <a:pPr algn="l">
              <a:spcAft>
                <a:spcPts val="400"/>
              </a:spcAft>
            </a:pPr>
            <a:endParaRPr kumimoji="0" lang="de-CH" sz="1600" b="1" i="0" u="none" strike="noStrike" kern="1200" cap="none" spc="-15" normalizeH="0" baseline="0" dirty="0">
              <a:ln>
                <a:noFill/>
              </a:ln>
              <a:solidFill>
                <a:srgbClr val="000000"/>
              </a:solidFill>
              <a:effectLst/>
              <a:uLnTx/>
              <a:uFillTx/>
              <a:latin typeface="Arial" panose="020B0604020202020204"/>
              <a:ea typeface="+mn-ea"/>
              <a:cs typeface="Poppins"/>
            </a:endParaRPr>
          </a:p>
          <a:p>
            <a:pPr algn="l">
              <a:spcAft>
                <a:spcPts val="400"/>
              </a:spcAft>
            </a:pPr>
            <a:r>
              <a:rPr kumimoji="0" lang="de-CH" sz="1600" b="1" i="0" u="none" strike="noStrike" kern="1200" cap="none" spc="-15" normalizeH="0" baseline="0" dirty="0">
                <a:ln>
                  <a:noFill/>
                </a:ln>
                <a:solidFill>
                  <a:srgbClr val="000000"/>
                </a:solidFill>
                <a:effectLst/>
                <a:uLnTx/>
                <a:uFillTx/>
                <a:latin typeface="Arial" panose="020B0604020202020204"/>
                <a:ea typeface="+mn-ea"/>
                <a:cs typeface="Poppins"/>
              </a:rPr>
              <a:t>Was Sie erwarten können:</a:t>
            </a:r>
          </a:p>
          <a:p>
            <a:pPr algn="l">
              <a:spcAft>
                <a:spcPts val="400"/>
              </a:spcAft>
            </a:pPr>
            <a:r>
              <a:rPr kumimoji="0" lang="de-CH" sz="1600" i="0" u="none" strike="noStrike" kern="1200" cap="none" spc="-15" normalizeH="0" baseline="0" dirty="0">
                <a:ln>
                  <a:noFill/>
                </a:ln>
                <a:solidFill>
                  <a:srgbClr val="000000"/>
                </a:solidFill>
                <a:effectLst/>
                <a:uLnTx/>
                <a:uFillTx/>
                <a:latin typeface="Arial" panose="020B0604020202020204"/>
                <a:ea typeface="+mn-ea"/>
                <a:cs typeface="Poppins"/>
              </a:rPr>
              <a:t>Dieser Team-Workshop wird uns helfen, unser hybrides Arbeitsumfeld gemeinsam zu gestalten. Wir werden uns mit den Themen Zusammenarbeit, Zielerreichung sowie Zusammenhalt und Wohlbefinden im Team befassen und dabei eine verbesserte Kommunikation und ein ausgewogenes Verhältnis zwischen Vor-Ort- und standortunabhängigem Arbeiten im Einklang mit den individuellen und den Teamzielen anstreben.</a:t>
            </a:r>
          </a:p>
          <a:p>
            <a:pPr algn="l">
              <a:spcAft>
                <a:spcPts val="400"/>
              </a:spcAft>
            </a:pPr>
            <a:endParaRPr kumimoji="0" lang="de-CH" sz="1600" b="1" i="0" u="none" strike="noStrike" kern="1200" cap="none" spc="-15" normalizeH="0" baseline="0" dirty="0">
              <a:ln>
                <a:noFill/>
              </a:ln>
              <a:solidFill>
                <a:srgbClr val="000000"/>
              </a:solidFill>
              <a:effectLst/>
              <a:uLnTx/>
              <a:uFillTx/>
              <a:latin typeface="Arial" panose="020B0604020202020204"/>
              <a:ea typeface="+mn-ea"/>
              <a:cs typeface="Poppins"/>
            </a:endParaRPr>
          </a:p>
          <a:p>
            <a:pPr algn="l">
              <a:spcAft>
                <a:spcPts val="400"/>
              </a:spcAft>
            </a:pPr>
            <a:r>
              <a:rPr kumimoji="0" lang="de-CH" sz="1600" b="1" i="0" u="none" strike="noStrike" kern="1200" cap="none" spc="-15" normalizeH="0" baseline="0" dirty="0">
                <a:ln>
                  <a:noFill/>
                </a:ln>
                <a:solidFill>
                  <a:srgbClr val="000000"/>
                </a:solidFill>
                <a:effectLst/>
                <a:uLnTx/>
                <a:uFillTx/>
                <a:latin typeface="Arial" panose="020B0604020202020204"/>
                <a:ea typeface="+mn-ea"/>
                <a:cs typeface="Poppins"/>
              </a:rPr>
              <a:t>Wie es funktioniert:</a:t>
            </a:r>
          </a:p>
          <a:p>
            <a:pPr algn="l">
              <a:spcAft>
                <a:spcPts val="400"/>
              </a:spcAft>
            </a:pPr>
            <a:r>
              <a:rPr kumimoji="0" lang="de-CH" sz="1600" i="0" u="none" strike="noStrike" kern="1200" cap="none" spc="-15" normalizeH="0" baseline="0" dirty="0">
                <a:ln>
                  <a:noFill/>
                </a:ln>
                <a:solidFill>
                  <a:srgbClr val="000000"/>
                </a:solidFill>
                <a:effectLst/>
                <a:uLnTx/>
                <a:uFillTx/>
                <a:latin typeface="Arial" panose="020B0604020202020204"/>
                <a:ea typeface="+mn-ea"/>
                <a:cs typeface="Poppins"/>
              </a:rPr>
              <a:t>Nehmen Sie an diesem Workshop teil, um gemeinsam Ihre zukünftige Arbeitsweise zu gestalten. Angesichts der sich entwickelnden hybriden Arbeitslandschaft, der Betonung des Wohlbefindens und der Forderung nach Innovation und Agilität ist es unser Ziel, eine Arbeitskultur zu schaffen, die mit diesen Prioritäten in Einklang steht. Beteiligen Sie sich an Diskussionen, tauschen Sie Erkenntnisse aus und arbeiten Sie gemeinsam an Strategien, um eine dynamische und erfolgreiche Zukunft für Ihre Teamarbeit zu gewährleisten.</a:t>
            </a:r>
            <a:endParaRPr kumimoji="0" lang="de-CH" sz="160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7" name="Titel 6">
            <a:extLst>
              <a:ext uri="{FF2B5EF4-FFF2-40B4-BE49-F238E27FC236}">
                <a16:creationId xmlns:a16="http://schemas.microsoft.com/office/drawing/2014/main" id="{6DAAECCB-C308-43C7-82C6-BAB1F3827081}"/>
              </a:ext>
            </a:extLst>
          </p:cNvPr>
          <p:cNvSpPr>
            <a:spLocks noGrp="1"/>
          </p:cNvSpPr>
          <p:nvPr>
            <p:ph type="title"/>
          </p:nvPr>
        </p:nvSpPr>
        <p:spPr/>
        <p:txBody>
          <a:bodyPr vert="horz"/>
          <a:lstStyle/>
          <a:p>
            <a:pPr algn="l"/>
            <a:r>
              <a:rPr lang="de-CH" b="0" i="0" u="none" baseline="0" dirty="0"/>
              <a:t>Einen Konsens im Team entwickeln</a:t>
            </a:r>
            <a:endParaRPr lang="de-CH" dirty="0"/>
          </a:p>
        </p:txBody>
      </p:sp>
      <p:sp>
        <p:nvSpPr>
          <p:cNvPr id="21" name="Rechteck 5">
            <a:extLst>
              <a:ext uri="{FF2B5EF4-FFF2-40B4-BE49-F238E27FC236}">
                <a16:creationId xmlns:a16="http://schemas.microsoft.com/office/drawing/2014/main" id="{189F72B7-0371-E235-F696-891E2B3B8EAA}"/>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
        <p:nvSpPr>
          <p:cNvPr id="22" name="Fußzeilenplatzhalter 4">
            <a:extLst>
              <a:ext uri="{FF2B5EF4-FFF2-40B4-BE49-F238E27FC236}">
                <a16:creationId xmlns:a16="http://schemas.microsoft.com/office/drawing/2014/main" id="{CD6A7308-16BD-0457-C9AD-D60ED7C5E243}"/>
              </a:ext>
            </a:extLst>
          </p:cNvPr>
          <p:cNvSpPr>
            <a:spLocks noGrp="1"/>
          </p:cNvSpPr>
          <p:nvPr>
            <p:ph type="ftr" sz="quarter" idx="11"/>
          </p:nvPr>
        </p:nvSpPr>
        <p:spPr>
          <a:xfrm>
            <a:off x="2171700" y="6522444"/>
            <a:ext cx="5400000" cy="216000"/>
          </a:xfrm>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Tree>
    <p:extLst>
      <p:ext uri="{BB962C8B-B14F-4D97-AF65-F5344CB8AC3E}">
        <p14:creationId xmlns:p14="http://schemas.microsoft.com/office/powerpoint/2010/main" val="54911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C5E4746-44C5-4447-25BC-7C75BCB67ADF}"/>
              </a:ext>
            </a:extLst>
          </p:cNvPr>
          <p:cNvGraphicFramePr>
            <a:graphicFrameLocks noChangeAspect="1"/>
          </p:cNvGraphicFramePr>
          <p:nvPr>
            <p:custDataLst>
              <p:tags r:id="rId1"/>
            </p:custDataLst>
            <p:extLst>
              <p:ext uri="{D42A27DB-BD31-4B8C-83A1-F6EECF244321}">
                <p14:modId xmlns:p14="http://schemas.microsoft.com/office/powerpoint/2010/main" val="2927022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C5E4746-44C5-4447-25BC-7C75BCB67A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t>Workshop Überblick</a:t>
            </a:r>
          </a:p>
        </p:txBody>
      </p:sp>
      <p:sp>
        <p:nvSpPr>
          <p:cNvPr id="4" name="Datumsplatzhalter 3"/>
          <p:cNvSpPr>
            <a:spLocks noGrp="1"/>
          </p:cNvSpPr>
          <p:nvPr>
            <p:ph type="dt" sz="half" idx="10"/>
          </p:nvPr>
        </p:nvSpPr>
        <p:spPr/>
        <p:txBody>
          <a:bodyPr/>
          <a:lstStyle/>
          <a:p>
            <a:pPr algn="l"/>
            <a:fld id="{A599A440-8ABC-43B6-823F-531183585419}" type="datetime1">
              <a:rPr lang="de-CH" smtClean="0"/>
              <a:t>29.02.2024</a:t>
            </a:fld>
            <a:endParaRPr lang="de-CH" noProof="0" dirty="0"/>
          </a:p>
        </p:txBody>
      </p:sp>
      <p:sp>
        <p:nvSpPr>
          <p:cNvPr id="3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12</a:t>
            </a:fld>
            <a:endParaRPr lang="de-CH" noProof="0" dirty="0"/>
          </a:p>
        </p:txBody>
      </p:sp>
      <p:sp>
        <p:nvSpPr>
          <p:cNvPr id="47" name="Rechteck 46"/>
          <p:cNvSpPr/>
          <p:nvPr/>
        </p:nvSpPr>
        <p:spPr>
          <a:xfrm>
            <a:off x="731837" y="1272968"/>
            <a:ext cx="4482566" cy="4312064"/>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dirty="0"/>
          </a:p>
        </p:txBody>
      </p:sp>
      <p:sp>
        <p:nvSpPr>
          <p:cNvPr id="11" name="Gleichschenkliges Dreieck 10"/>
          <p:cNvSpPr/>
          <p:nvPr/>
        </p:nvSpPr>
        <p:spPr>
          <a:xfrm rot="10800000">
            <a:off x="2577446" y="3215580"/>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51" name="Gleichschenkliges Dreieck 50"/>
          <p:cNvSpPr/>
          <p:nvPr/>
        </p:nvSpPr>
        <p:spPr>
          <a:xfrm rot="10800000">
            <a:off x="2577446" y="4057302"/>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9" name="Rechteck 8"/>
          <p:cNvSpPr/>
          <p:nvPr/>
        </p:nvSpPr>
        <p:spPr>
          <a:xfrm>
            <a:off x="989348" y="2633577"/>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0" i="0" u="none" baseline="0" dirty="0"/>
              <a:t> Rückblick - Wie sind die Dinge bisher gelaufen?</a:t>
            </a:r>
          </a:p>
        </p:txBody>
      </p:sp>
      <p:sp>
        <p:nvSpPr>
          <p:cNvPr id="48" name="Rechteck 47"/>
          <p:cNvSpPr/>
          <p:nvPr/>
        </p:nvSpPr>
        <p:spPr>
          <a:xfrm>
            <a:off x="989348" y="3474952"/>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sz="1400" b="0" i="0" u="none" baseline="0" dirty="0">
                <a:latin typeface="Arial"/>
                <a:ea typeface="Arial"/>
                <a:cs typeface="Arial"/>
              </a:rPr>
              <a:t>Die Zukunft gestalten - Wie möchten wir sie haben?</a:t>
            </a:r>
          </a:p>
        </p:txBody>
      </p:sp>
      <p:sp>
        <p:nvSpPr>
          <p:cNvPr id="50" name="Rechteck 49"/>
          <p:cNvSpPr/>
          <p:nvPr/>
        </p:nvSpPr>
        <p:spPr>
          <a:xfrm>
            <a:off x="989348" y="4317261"/>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0" i="0" u="none" baseline="0" dirty="0"/>
              <a:t>Handeln - Was werden wir tun?</a:t>
            </a:r>
          </a:p>
        </p:txBody>
      </p:sp>
      <p:sp>
        <p:nvSpPr>
          <p:cNvPr id="37" name="Gleichschenkliges Dreieck 36"/>
          <p:cNvSpPr/>
          <p:nvPr/>
        </p:nvSpPr>
        <p:spPr>
          <a:xfrm rot="10800000">
            <a:off x="2577446" y="2371030"/>
            <a:ext cx="684000" cy="252000"/>
          </a:xfrm>
          <a:prstGeom prst="triangle">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38" name="Rechteck 37"/>
          <p:cNvSpPr/>
          <p:nvPr/>
        </p:nvSpPr>
        <p:spPr>
          <a:xfrm>
            <a:off x="989348" y="1789027"/>
            <a:ext cx="3860196" cy="612000"/>
          </a:xfrm>
          <a:prstGeom prst="rect">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sz="1400" b="0" i="0" u="none" baseline="0" dirty="0"/>
              <a:t>Drei Perspektiven</a:t>
            </a:r>
          </a:p>
        </p:txBody>
      </p:sp>
      <p:sp>
        <p:nvSpPr>
          <p:cNvPr id="8" name="Rechteck 7"/>
          <p:cNvSpPr/>
          <p:nvPr/>
        </p:nvSpPr>
        <p:spPr>
          <a:xfrm>
            <a:off x="788330" y="2399179"/>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1</a:t>
            </a:r>
            <a:endParaRPr lang="de-CH" sz="1200" b="0" i="0" u="none" baseline="0" dirty="0">
              <a:solidFill>
                <a:schemeClr val="tx1"/>
              </a:solidFill>
            </a:endParaRPr>
          </a:p>
        </p:txBody>
      </p:sp>
      <p:sp>
        <p:nvSpPr>
          <p:cNvPr id="27" name="Rechteck 26"/>
          <p:cNvSpPr/>
          <p:nvPr/>
        </p:nvSpPr>
        <p:spPr>
          <a:xfrm>
            <a:off x="788330" y="3273953"/>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2</a:t>
            </a:r>
            <a:endParaRPr lang="de-CH" sz="1200" b="0" i="0" u="none" baseline="0" dirty="0">
              <a:solidFill>
                <a:schemeClr val="tx1"/>
              </a:solidFill>
            </a:endParaRPr>
          </a:p>
        </p:txBody>
      </p:sp>
      <p:sp>
        <p:nvSpPr>
          <p:cNvPr id="28" name="Rechteck 27"/>
          <p:cNvSpPr/>
          <p:nvPr/>
        </p:nvSpPr>
        <p:spPr>
          <a:xfrm>
            <a:off x="788330" y="4109102"/>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3</a:t>
            </a:r>
            <a:endParaRPr lang="de-CH" sz="1200" b="0" i="0" u="none" baseline="0" dirty="0">
              <a:solidFill>
                <a:schemeClr val="tx1"/>
              </a:solidFill>
            </a:endParaRPr>
          </a:p>
        </p:txBody>
      </p:sp>
      <p:sp>
        <p:nvSpPr>
          <p:cNvPr id="7" name="Rechteck 5">
            <a:extLst>
              <a:ext uri="{FF2B5EF4-FFF2-40B4-BE49-F238E27FC236}">
                <a16:creationId xmlns:a16="http://schemas.microsoft.com/office/drawing/2014/main" id="{7569C4AA-99FC-1B98-B5A8-E2E34D251296}"/>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
        <p:nvSpPr>
          <p:cNvPr id="10" name="Rechteck 46">
            <a:extLst>
              <a:ext uri="{FF2B5EF4-FFF2-40B4-BE49-F238E27FC236}">
                <a16:creationId xmlns:a16="http://schemas.microsoft.com/office/drawing/2014/main" id="{6F41AF3B-302E-E75F-BA20-A8FFB5A1C173}"/>
              </a:ext>
            </a:extLst>
          </p:cNvPr>
          <p:cNvSpPr/>
          <p:nvPr/>
        </p:nvSpPr>
        <p:spPr>
          <a:xfrm>
            <a:off x="6603126" y="1272968"/>
            <a:ext cx="4482566" cy="4312064"/>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1200" dirty="0"/>
          </a:p>
        </p:txBody>
      </p:sp>
      <p:sp>
        <p:nvSpPr>
          <p:cNvPr id="13" name="Gleichschenkliges Dreieck 10">
            <a:extLst>
              <a:ext uri="{FF2B5EF4-FFF2-40B4-BE49-F238E27FC236}">
                <a16:creationId xmlns:a16="http://schemas.microsoft.com/office/drawing/2014/main" id="{A2DA63D0-DB52-889F-2F2B-517DEC88A825}"/>
              </a:ext>
            </a:extLst>
          </p:cNvPr>
          <p:cNvSpPr/>
          <p:nvPr/>
        </p:nvSpPr>
        <p:spPr>
          <a:xfrm rot="10800000">
            <a:off x="8448735" y="3215580"/>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4" name="Gleichschenkliges Dreieck 50">
            <a:extLst>
              <a:ext uri="{FF2B5EF4-FFF2-40B4-BE49-F238E27FC236}">
                <a16:creationId xmlns:a16="http://schemas.microsoft.com/office/drawing/2014/main" id="{377CF0BC-CB95-8F98-6CEB-5CFEF27F7257}"/>
              </a:ext>
            </a:extLst>
          </p:cNvPr>
          <p:cNvSpPr/>
          <p:nvPr/>
        </p:nvSpPr>
        <p:spPr>
          <a:xfrm rot="10800000">
            <a:off x="8448735" y="4057302"/>
            <a:ext cx="684000" cy="252000"/>
          </a:xfrm>
          <a:prstGeom prst="triangle">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15" name="Rechteck 8">
            <a:extLst>
              <a:ext uri="{FF2B5EF4-FFF2-40B4-BE49-F238E27FC236}">
                <a16:creationId xmlns:a16="http://schemas.microsoft.com/office/drawing/2014/main" id="{156683EB-D727-AEEC-79F5-8D0E4AB20A6B}"/>
              </a:ext>
            </a:extLst>
          </p:cNvPr>
          <p:cNvSpPr/>
          <p:nvPr/>
        </p:nvSpPr>
        <p:spPr>
          <a:xfrm>
            <a:off x="6860637" y="2633577"/>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0" i="0" u="none" baseline="0" dirty="0"/>
              <a:t> Zusammenarbeit</a:t>
            </a:r>
          </a:p>
        </p:txBody>
      </p:sp>
      <p:sp>
        <p:nvSpPr>
          <p:cNvPr id="16" name="Rechteck 47">
            <a:extLst>
              <a:ext uri="{FF2B5EF4-FFF2-40B4-BE49-F238E27FC236}">
                <a16:creationId xmlns:a16="http://schemas.microsoft.com/office/drawing/2014/main" id="{FBA74DE1-7D88-9CC3-2F7B-6033EA6114E0}"/>
              </a:ext>
            </a:extLst>
          </p:cNvPr>
          <p:cNvSpPr/>
          <p:nvPr/>
        </p:nvSpPr>
        <p:spPr>
          <a:xfrm>
            <a:off x="6860637" y="3474952"/>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sz="1400" b="0" i="0" u="none" baseline="0" dirty="0">
                <a:latin typeface="Arial"/>
                <a:ea typeface="Arial"/>
                <a:cs typeface="Arial"/>
              </a:rPr>
              <a:t>Zielerreichung</a:t>
            </a:r>
          </a:p>
        </p:txBody>
      </p:sp>
      <p:sp>
        <p:nvSpPr>
          <p:cNvPr id="17" name="Rechteck 49">
            <a:extLst>
              <a:ext uri="{FF2B5EF4-FFF2-40B4-BE49-F238E27FC236}">
                <a16:creationId xmlns:a16="http://schemas.microsoft.com/office/drawing/2014/main" id="{996C98F5-E864-5923-1607-1B96A5319F95}"/>
              </a:ext>
            </a:extLst>
          </p:cNvPr>
          <p:cNvSpPr/>
          <p:nvPr/>
        </p:nvSpPr>
        <p:spPr>
          <a:xfrm>
            <a:off x="6860637" y="4317261"/>
            <a:ext cx="3860196" cy="61200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400" b="0" i="0" u="none" baseline="0" dirty="0"/>
              <a:t>Zusammenhalt und Wohlbefinden im Team</a:t>
            </a:r>
          </a:p>
        </p:txBody>
      </p:sp>
      <p:sp>
        <p:nvSpPr>
          <p:cNvPr id="22" name="Gleichschenkliges Dreieck 36">
            <a:extLst>
              <a:ext uri="{FF2B5EF4-FFF2-40B4-BE49-F238E27FC236}">
                <a16:creationId xmlns:a16="http://schemas.microsoft.com/office/drawing/2014/main" id="{69BA734D-73D9-0E42-16FF-9A16E9A0AA7F}"/>
              </a:ext>
            </a:extLst>
          </p:cNvPr>
          <p:cNvSpPr/>
          <p:nvPr/>
        </p:nvSpPr>
        <p:spPr>
          <a:xfrm rot="10800000">
            <a:off x="8448735" y="2371030"/>
            <a:ext cx="684000" cy="252000"/>
          </a:xfrm>
          <a:prstGeom prst="triangle">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24" name="Rechteck 37">
            <a:extLst>
              <a:ext uri="{FF2B5EF4-FFF2-40B4-BE49-F238E27FC236}">
                <a16:creationId xmlns:a16="http://schemas.microsoft.com/office/drawing/2014/main" id="{04289C6E-1199-0B99-D163-4CD3620BC9E0}"/>
              </a:ext>
            </a:extLst>
          </p:cNvPr>
          <p:cNvSpPr/>
          <p:nvPr/>
        </p:nvSpPr>
        <p:spPr>
          <a:xfrm>
            <a:off x="6860637" y="1789027"/>
            <a:ext cx="3860196" cy="612000"/>
          </a:xfrm>
          <a:prstGeom prst="rect">
            <a:avLst/>
          </a:prstGeom>
          <a:solidFill>
            <a:srgbClr val="1F407A"/>
          </a:solidFill>
          <a:ln>
            <a:solidFill>
              <a:srgbClr val="1F407A"/>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sz="1400" b="0" i="0" u="none" baseline="0" dirty="0"/>
              <a:t>Drei Themen</a:t>
            </a:r>
          </a:p>
        </p:txBody>
      </p:sp>
      <p:sp>
        <p:nvSpPr>
          <p:cNvPr id="31" name="Plus Sign 30">
            <a:extLst>
              <a:ext uri="{FF2B5EF4-FFF2-40B4-BE49-F238E27FC236}">
                <a16:creationId xmlns:a16="http://schemas.microsoft.com/office/drawing/2014/main" id="{90D245A3-6547-A8A7-9132-8A0860FFBF90}"/>
              </a:ext>
            </a:extLst>
          </p:cNvPr>
          <p:cNvSpPr/>
          <p:nvPr/>
        </p:nvSpPr>
        <p:spPr>
          <a:xfrm>
            <a:off x="5451564" y="2971800"/>
            <a:ext cx="914400" cy="914400"/>
          </a:xfrm>
          <a:prstGeom prst="mathPlus">
            <a:avLst/>
          </a:prstGeom>
          <a:solidFill>
            <a:srgbClr val="007A9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dirty="0"/>
          </a:p>
        </p:txBody>
      </p:sp>
      <p:sp>
        <p:nvSpPr>
          <p:cNvPr id="33" name="Rechteck 7">
            <a:extLst>
              <a:ext uri="{FF2B5EF4-FFF2-40B4-BE49-F238E27FC236}">
                <a16:creationId xmlns:a16="http://schemas.microsoft.com/office/drawing/2014/main" id="{282627BB-A3F0-27F3-9756-6AFD3AD87099}"/>
              </a:ext>
            </a:extLst>
          </p:cNvPr>
          <p:cNvSpPr/>
          <p:nvPr/>
        </p:nvSpPr>
        <p:spPr>
          <a:xfrm>
            <a:off x="6659734" y="2399179"/>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1</a:t>
            </a:r>
            <a:endParaRPr lang="de-CH" sz="1200" b="0" i="0" u="none" baseline="0" dirty="0">
              <a:solidFill>
                <a:schemeClr val="tx1"/>
              </a:solidFill>
            </a:endParaRPr>
          </a:p>
        </p:txBody>
      </p:sp>
      <p:sp>
        <p:nvSpPr>
          <p:cNvPr id="34" name="Rechteck 26">
            <a:extLst>
              <a:ext uri="{FF2B5EF4-FFF2-40B4-BE49-F238E27FC236}">
                <a16:creationId xmlns:a16="http://schemas.microsoft.com/office/drawing/2014/main" id="{29B16004-A9CF-6D1F-3737-102F15FFE287}"/>
              </a:ext>
            </a:extLst>
          </p:cNvPr>
          <p:cNvSpPr/>
          <p:nvPr/>
        </p:nvSpPr>
        <p:spPr>
          <a:xfrm>
            <a:off x="6659734" y="3273953"/>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2</a:t>
            </a:r>
            <a:endParaRPr lang="de-CH" sz="1200" b="0" i="0" u="none" baseline="0" dirty="0">
              <a:solidFill>
                <a:schemeClr val="tx1"/>
              </a:solidFill>
            </a:endParaRPr>
          </a:p>
        </p:txBody>
      </p:sp>
      <p:sp>
        <p:nvSpPr>
          <p:cNvPr id="35" name="Rechteck 27">
            <a:extLst>
              <a:ext uri="{FF2B5EF4-FFF2-40B4-BE49-F238E27FC236}">
                <a16:creationId xmlns:a16="http://schemas.microsoft.com/office/drawing/2014/main" id="{25414BE8-4E73-27A2-3FFA-CFBF3946F190}"/>
              </a:ext>
            </a:extLst>
          </p:cNvPr>
          <p:cNvSpPr/>
          <p:nvPr/>
        </p:nvSpPr>
        <p:spPr>
          <a:xfrm>
            <a:off x="6659734" y="4109102"/>
            <a:ext cx="360000" cy="360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sz="1200" b="0" i="0" u="none" baseline="0">
                <a:solidFill>
                  <a:schemeClr val="tx1"/>
                </a:solidFill>
              </a:rPr>
              <a:t>3</a:t>
            </a:r>
            <a:endParaRPr lang="de-CH" sz="1200" b="0" i="0" u="none" baseline="0" dirty="0">
              <a:solidFill>
                <a:schemeClr val="tx1"/>
              </a:solidFill>
            </a:endParaRPr>
          </a:p>
        </p:txBody>
      </p:sp>
    </p:spTree>
    <p:extLst>
      <p:ext uri="{BB962C8B-B14F-4D97-AF65-F5344CB8AC3E}">
        <p14:creationId xmlns:p14="http://schemas.microsoft.com/office/powerpoint/2010/main" val="28682960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2232000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DE635DE2-52F1-4670-83F4-9DD6AB4FCC83}"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13</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105351138"/>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a:effectLst/>
                        </a:rPr>
                        <a:t>2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kern="1200" baseline="0">
                          <a:effectLst/>
                        </a:rPr>
                        <a:t>Check-in</a:t>
                      </a:r>
                      <a:endParaRPr lang="de-CH" sz="1600" b="0" i="0" u="none" kern="1200" baseline="0" dirty="0">
                        <a:effectLst/>
                      </a:endParaRP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baseline="0" dirty="0"/>
                        <a:t>Zusammenarbeit</a:t>
                      </a:r>
                      <a:endParaRPr lang="de-CH" sz="1600" b="0" i="0" u="none" kern="1200" baseline="0" dirty="0">
                        <a:effectLst/>
                      </a:endParaRP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ielerreichung</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usammenhalt und Wohlbefinden im Team</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effectLst/>
                        </a:rPr>
                        <a:t>20 Min.</a:t>
                      </a:r>
                      <a:endParaRPr lang="de-CH" sz="1600" noProof="0" dirty="0"/>
                    </a:p>
                  </a:txBody>
                  <a:tcPr marL="72000" marR="0" marT="0" marB="0" anchor="ctr"/>
                </a:tc>
                <a:tc>
                  <a:txBody>
                    <a:bodyPr/>
                    <a:lstStyle/>
                    <a:p>
                      <a:pPr marL="0" algn="l" rtl="0" eaLnBrk="1" latinLnBrk="0" hangingPunct="1">
                        <a:spcBef>
                          <a:spcPts val="0"/>
                        </a:spcBef>
                        <a:spcAft>
                          <a:spcPts val="0"/>
                        </a:spcAft>
                      </a:pPr>
                      <a:r>
                        <a:rPr lang="de-CH" sz="1600" b="0" i="0" u="none" kern="1200" baseline="0" dirty="0">
                          <a:effectLst/>
                        </a:rPr>
                        <a:t>Check-out &amp; Verabschiedung</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23547581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265470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6C0B1561-26A9-4138-A1EA-38ED44EEBAD5}"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14</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1585401063"/>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dirty="0">
                          <a:solidFill>
                            <a:schemeClr val="bg1"/>
                          </a:solidFill>
                          <a:effectLst/>
                        </a:rPr>
                        <a:t>20 Min.</a:t>
                      </a:r>
                      <a:endParaRPr lang="de-CH" sz="1600" noProof="0" dirty="0">
                        <a:solidFill>
                          <a:schemeClr val="bg1"/>
                        </a:solidFill>
                        <a:effectLst/>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de-CH" sz="1600" b="0" i="0" u="none" kern="1200" baseline="0" dirty="0">
                          <a:solidFill>
                            <a:schemeClr val="bg1"/>
                          </a:solidFill>
                          <a:effectLst/>
                        </a:rPr>
                        <a:t>Check-in</a:t>
                      </a:r>
                    </a:p>
                  </a:txBody>
                  <a:tcPr marL="72000" marR="0" marT="0" marB="0" anchor="ctr">
                    <a:solidFill>
                      <a:schemeClr val="accent2"/>
                    </a:solidFill>
                  </a:tcP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baseline="0" dirty="0"/>
                        <a:t>Zusammenarbeit</a:t>
                      </a:r>
                      <a:endParaRPr lang="de-CH" sz="1600" b="0" i="0" u="none" kern="1200" baseline="0" dirty="0">
                        <a:effectLst/>
                      </a:endParaRP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ielerreichung</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usammenhalt und Wohlbefinden im Team</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effectLst/>
                        </a:rPr>
                        <a:t>20 Min.</a:t>
                      </a:r>
                      <a:endParaRPr lang="de-CH" sz="1600" noProof="0" dirty="0"/>
                    </a:p>
                  </a:txBody>
                  <a:tcPr marL="72000" marR="0" marT="0" marB="0" anchor="ctr"/>
                </a:tc>
                <a:tc>
                  <a:txBody>
                    <a:bodyPr/>
                    <a:lstStyle/>
                    <a:p>
                      <a:pPr marL="0" algn="l" rtl="0" eaLnBrk="1" latinLnBrk="0" hangingPunct="1">
                        <a:spcBef>
                          <a:spcPts val="0"/>
                        </a:spcBef>
                        <a:spcAft>
                          <a:spcPts val="0"/>
                        </a:spcAft>
                      </a:pPr>
                      <a:r>
                        <a:rPr lang="de-CH" sz="1600" b="0" i="0" u="none" kern="1200" baseline="0" dirty="0">
                          <a:effectLst/>
                        </a:rPr>
                        <a:t>Check-out &amp; Verabschiedung</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633499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9C7040E-B05F-1FC8-1864-7EE431F9FC9E}"/>
              </a:ext>
            </a:extLst>
          </p:cNvPr>
          <p:cNvGraphicFramePr>
            <a:graphicFrameLocks noChangeAspect="1"/>
          </p:cNvGraphicFramePr>
          <p:nvPr>
            <p:custDataLst>
              <p:tags r:id="rId1"/>
            </p:custDataLst>
            <p:extLst>
              <p:ext uri="{D42A27DB-BD31-4B8C-83A1-F6EECF244321}">
                <p14:modId xmlns:p14="http://schemas.microsoft.com/office/powerpoint/2010/main" val="1267596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99C7040E-B05F-1FC8-1864-7EE431F9FC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vert="horz"/>
          <a:lstStyle/>
          <a:p>
            <a:pPr algn="l"/>
            <a:r>
              <a:rPr lang="de-CH" dirty="0"/>
              <a:t>Check-in (</a:t>
            </a:r>
            <a:r>
              <a:rPr lang="de-CH"/>
              <a:t>Vorschlag)</a:t>
            </a:r>
            <a:endParaRPr lang="de-CH" b="0" i="0" u="none" baseline="0" dirty="0"/>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7" y="1412875"/>
            <a:ext cx="5364163" cy="4680000"/>
          </a:xfrm>
        </p:spPr>
        <p:txBody>
          <a:bodyPr vert="horz" lIns="0" tIns="0" rIns="0" bIns="0" rtlCol="0" anchor="t">
            <a:noAutofit/>
          </a:bodyPr>
          <a:lstStyle/>
          <a:p>
            <a:pPr marL="0" indent="0">
              <a:buNone/>
            </a:pPr>
            <a:r>
              <a:rPr lang="de-CH" sz="1600" b="1" dirty="0"/>
              <a:t>Bitte teile ein paar Sätze mit uns! Inspirationsquellen:</a:t>
            </a:r>
          </a:p>
          <a:p>
            <a:pPr marL="0" indent="0" algn="l">
              <a:buNone/>
            </a:pPr>
            <a:endParaRPr lang="de-CH" sz="1600" b="1"/>
          </a:p>
          <a:p>
            <a:pPr>
              <a:spcBef>
                <a:spcPts val="0"/>
              </a:spcBef>
              <a:spcAft>
                <a:spcPts val="600"/>
              </a:spcAft>
            </a:pPr>
            <a:r>
              <a:rPr lang="de-CH" sz="1600">
                <a:ea typeface="+mn-lt"/>
                <a:cs typeface="+mn-lt"/>
                <a:hlinkClick r:id="rId6"/>
              </a:rPr>
              <a:t>Tscheck</a:t>
            </a:r>
            <a:r>
              <a:rPr lang="de-CH" sz="1600" dirty="0">
                <a:ea typeface="+mn-lt"/>
                <a:cs typeface="+mn-lt"/>
                <a:hlinkClick r:id="rId6"/>
              </a:rPr>
              <a:t>.in (Fragen-Generator)</a:t>
            </a:r>
            <a:r>
              <a:rPr lang="de-CH" sz="1600" dirty="0">
                <a:ea typeface="+mn-lt"/>
                <a:cs typeface="+mn-lt"/>
              </a:rPr>
              <a:t> – </a:t>
            </a:r>
            <a:r>
              <a:rPr lang="de-CH" sz="1600">
                <a:ea typeface="+mn-lt"/>
                <a:cs typeface="+mn-lt"/>
              </a:rPr>
              <a:t>Beispiele:</a:t>
            </a:r>
            <a:endParaRPr lang="de-CH" sz="1600">
              <a:ea typeface="+mn-lt"/>
              <a:cs typeface="+mn-lt"/>
              <a:hlinkClick r:id="" action="ppaction://noaction"/>
            </a:endParaRPr>
          </a:p>
          <a:p>
            <a:pPr marL="0" indent="0" algn="l">
              <a:spcBef>
                <a:spcPts val="0"/>
              </a:spcBef>
              <a:spcAft>
                <a:spcPts val="600"/>
              </a:spcAft>
              <a:buNone/>
            </a:pPr>
            <a:endParaRPr lang="de-CH" sz="1600">
              <a:ea typeface="+mn-lt"/>
              <a:cs typeface="+mn-lt"/>
              <a:hlinkClick r:id="" action="ppaction://noaction"/>
            </a:endParaRPr>
          </a:p>
          <a:p>
            <a:pPr marL="0" indent="0" algn="l">
              <a:spcBef>
                <a:spcPts val="0"/>
              </a:spcBef>
              <a:spcAft>
                <a:spcPts val="600"/>
              </a:spcAft>
              <a:buNone/>
            </a:pPr>
            <a:endParaRPr lang="de-CH" sz="1600">
              <a:ea typeface="+mn-lt"/>
              <a:cs typeface="+mn-lt"/>
              <a:hlinkClick r:id="" action="ppaction://noaction"/>
            </a:endParaRPr>
          </a:p>
          <a:p>
            <a:pPr marL="0" indent="0" algn="l">
              <a:spcBef>
                <a:spcPts val="0"/>
              </a:spcBef>
              <a:spcAft>
                <a:spcPts val="600"/>
              </a:spcAft>
              <a:buNone/>
            </a:pPr>
            <a:endParaRPr lang="de-CH" sz="1600">
              <a:ea typeface="+mn-lt"/>
              <a:cs typeface="+mn-lt"/>
              <a:hlinkClick r:id="" action="ppaction://noaction"/>
            </a:endParaRPr>
          </a:p>
          <a:p>
            <a:pPr marL="0" indent="0" algn="l">
              <a:spcBef>
                <a:spcPts val="0"/>
              </a:spcBef>
              <a:spcAft>
                <a:spcPts val="600"/>
              </a:spcAft>
              <a:buNone/>
            </a:pPr>
            <a:endParaRPr lang="de-CH" sz="1600">
              <a:ea typeface="+mn-lt"/>
              <a:cs typeface="+mn-lt"/>
              <a:hlinkClick r:id="" action="ppaction://noaction"/>
            </a:endParaRPr>
          </a:p>
          <a:p>
            <a:pPr marL="0" indent="0" algn="l">
              <a:spcBef>
                <a:spcPts val="0"/>
              </a:spcBef>
              <a:spcAft>
                <a:spcPts val="600"/>
              </a:spcAft>
              <a:buNone/>
            </a:pPr>
            <a:endParaRPr lang="de-CH" sz="1600">
              <a:ea typeface="+mn-lt"/>
              <a:cs typeface="+mn-lt"/>
              <a:hlinkClick r:id="" action="ppaction://noaction"/>
            </a:endParaRPr>
          </a:p>
          <a:p>
            <a:pPr algn="l">
              <a:spcBef>
                <a:spcPts val="0"/>
              </a:spcBef>
              <a:spcAft>
                <a:spcPts val="600"/>
              </a:spcAft>
            </a:pPr>
            <a:endParaRPr lang="de-CH" sz="1600">
              <a:ea typeface="+mn-lt"/>
              <a:cs typeface="+mn-lt"/>
              <a:hlinkClick r:id="" action="ppaction://noaction"/>
            </a:endParaRPr>
          </a:p>
          <a:p>
            <a:pPr algn="l">
              <a:spcBef>
                <a:spcPts val="0"/>
              </a:spcBef>
              <a:spcAft>
                <a:spcPts val="600"/>
              </a:spcAft>
            </a:pPr>
            <a:endParaRPr lang="de-CH" sz="1600">
              <a:ea typeface="+mn-lt"/>
              <a:cs typeface="+mn-lt"/>
              <a:hlinkClick r:id="" action="ppaction://noaction"/>
            </a:endParaRPr>
          </a:p>
          <a:p>
            <a:pPr algn="l">
              <a:spcBef>
                <a:spcPts val="0"/>
              </a:spcBef>
              <a:spcAft>
                <a:spcPts val="600"/>
              </a:spcAft>
            </a:pPr>
            <a:endParaRPr lang="de-CH" sz="1600">
              <a:ea typeface="+mn-lt"/>
              <a:cs typeface="+mn-lt"/>
              <a:hlinkClick r:id="" action="ppaction://noaction"/>
            </a:endParaRPr>
          </a:p>
          <a:p>
            <a:pPr algn="l">
              <a:spcBef>
                <a:spcPts val="0"/>
              </a:spcBef>
              <a:spcAft>
                <a:spcPts val="600"/>
              </a:spcAft>
            </a:pPr>
            <a:endParaRPr lang="de-CH" sz="1600">
              <a:ea typeface="+mn-lt"/>
              <a:cs typeface="+mn-lt"/>
              <a:hlinkClick r:id="" action="ppaction://noaction"/>
            </a:endParaRPr>
          </a:p>
          <a:p>
            <a:pPr marL="0" indent="0" algn="l">
              <a:spcBef>
                <a:spcPts val="0"/>
              </a:spcBef>
              <a:spcAft>
                <a:spcPts val="600"/>
              </a:spcAft>
              <a:buNone/>
            </a:pPr>
            <a:endParaRPr lang="de-CH" sz="1600" dirty="0">
              <a:ea typeface="+mn-lt"/>
              <a:cs typeface="+mn-lt"/>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pPr algn="l"/>
            <a:fld id="{85D7E455-B346-461D-87CD-DF4233C28B2C}" type="datetime1">
              <a:rPr lang="de-CH" smtClean="0"/>
              <a:t>29.02.2024</a:t>
            </a:fld>
            <a:endParaRPr lang="de-CH" noProof="0" dirty="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dirty="0"/>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pPr algn="r"/>
            <a:fld id="{5ACA52AF-F19D-405C-AD5F-7D94B96A5CC3}" type="slidenum">
              <a:rPr lang="de-CH" smtClean="0"/>
              <a:pPr algn="r"/>
              <a:t>15</a:t>
            </a:fld>
            <a:endParaRPr lang="de-CH" noProof="0" dirty="0"/>
          </a:p>
        </p:txBody>
      </p:sp>
      <p:pic>
        <p:nvPicPr>
          <p:cNvPr id="8" name="Picture 7" descr="A picture containing mountain, water, sky, outdoors&#10;&#10;Description automatically generated">
            <a:extLst>
              <a:ext uri="{FF2B5EF4-FFF2-40B4-BE49-F238E27FC236}">
                <a16:creationId xmlns:a16="http://schemas.microsoft.com/office/drawing/2014/main" id="{A6706CC3-8947-4813-8BE0-CC4FF62607E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93669" y="1160351"/>
            <a:ext cx="3866493" cy="5155324"/>
          </a:xfrm>
          <a:prstGeom prst="rect">
            <a:avLst/>
          </a:prstGeom>
        </p:spPr>
      </p:pic>
      <p:pic>
        <p:nvPicPr>
          <p:cNvPr id="10" name="Grafik 9">
            <a:extLst>
              <a:ext uri="{FF2B5EF4-FFF2-40B4-BE49-F238E27FC236}">
                <a16:creationId xmlns:a16="http://schemas.microsoft.com/office/drawing/2014/main" id="{6FE4055E-3E6B-4474-A2CE-18842F606BD5}"/>
              </a:ext>
            </a:extLst>
          </p:cNvPr>
          <p:cNvPicPr>
            <a:picLocks noChangeAspect="1"/>
          </p:cNvPicPr>
          <p:nvPr/>
        </p:nvPicPr>
        <p:blipFill>
          <a:blip r:embed="rId8"/>
          <a:stretch>
            <a:fillRect/>
          </a:stretch>
        </p:blipFill>
        <p:spPr>
          <a:xfrm>
            <a:off x="731836" y="2687583"/>
            <a:ext cx="2389735" cy="1413926"/>
          </a:xfrm>
          <a:prstGeom prst="rect">
            <a:avLst/>
          </a:prstGeom>
        </p:spPr>
      </p:pic>
      <p:pic>
        <p:nvPicPr>
          <p:cNvPr id="12" name="Grafik 11">
            <a:extLst>
              <a:ext uri="{FF2B5EF4-FFF2-40B4-BE49-F238E27FC236}">
                <a16:creationId xmlns:a16="http://schemas.microsoft.com/office/drawing/2014/main" id="{5F783A66-5A74-4E68-BBA5-8A956AE16DDB}"/>
              </a:ext>
            </a:extLst>
          </p:cNvPr>
          <p:cNvPicPr>
            <a:picLocks noChangeAspect="1"/>
          </p:cNvPicPr>
          <p:nvPr/>
        </p:nvPicPr>
        <p:blipFill>
          <a:blip r:embed="rId9"/>
          <a:stretch>
            <a:fillRect/>
          </a:stretch>
        </p:blipFill>
        <p:spPr>
          <a:xfrm>
            <a:off x="3258206" y="2687583"/>
            <a:ext cx="2344865" cy="1413926"/>
          </a:xfrm>
          <a:prstGeom prst="rect">
            <a:avLst/>
          </a:prstGeom>
        </p:spPr>
      </p:pic>
      <p:pic>
        <p:nvPicPr>
          <p:cNvPr id="14" name="Grafik 13">
            <a:extLst>
              <a:ext uri="{FF2B5EF4-FFF2-40B4-BE49-F238E27FC236}">
                <a16:creationId xmlns:a16="http://schemas.microsoft.com/office/drawing/2014/main" id="{DDDEC08A-4E6C-43B2-B5B1-AFE10744E31A}"/>
              </a:ext>
            </a:extLst>
          </p:cNvPr>
          <p:cNvPicPr>
            <a:picLocks noChangeAspect="1"/>
          </p:cNvPicPr>
          <p:nvPr/>
        </p:nvPicPr>
        <p:blipFill>
          <a:blip r:embed="rId10"/>
          <a:stretch>
            <a:fillRect/>
          </a:stretch>
        </p:blipFill>
        <p:spPr>
          <a:xfrm>
            <a:off x="3258207" y="4170417"/>
            <a:ext cx="2344865" cy="1342368"/>
          </a:xfrm>
          <a:prstGeom prst="rect">
            <a:avLst/>
          </a:prstGeom>
        </p:spPr>
      </p:pic>
      <p:pic>
        <p:nvPicPr>
          <p:cNvPr id="16" name="Grafik 15">
            <a:extLst>
              <a:ext uri="{FF2B5EF4-FFF2-40B4-BE49-F238E27FC236}">
                <a16:creationId xmlns:a16="http://schemas.microsoft.com/office/drawing/2014/main" id="{AB009935-8664-402E-BDCF-4E2253BCDD8F}"/>
              </a:ext>
            </a:extLst>
          </p:cNvPr>
          <p:cNvPicPr>
            <a:picLocks noChangeAspect="1"/>
          </p:cNvPicPr>
          <p:nvPr/>
        </p:nvPicPr>
        <p:blipFill>
          <a:blip r:embed="rId11"/>
          <a:stretch>
            <a:fillRect/>
          </a:stretch>
        </p:blipFill>
        <p:spPr>
          <a:xfrm>
            <a:off x="731837" y="4170417"/>
            <a:ext cx="2389735" cy="1342368"/>
          </a:xfrm>
          <a:prstGeom prst="rect">
            <a:avLst/>
          </a:prstGeom>
        </p:spPr>
      </p:pic>
      <p:sp>
        <p:nvSpPr>
          <p:cNvPr id="13" name="Rechteck 12">
            <a:extLst>
              <a:ext uri="{FF2B5EF4-FFF2-40B4-BE49-F238E27FC236}">
                <a16:creationId xmlns:a16="http://schemas.microsoft.com/office/drawing/2014/main" id="{53D2063C-9ED4-498A-AE70-37A043831FA0}"/>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3227777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a:lstStyle/>
          <a:p>
            <a:r>
              <a:rPr lang="de-CH"/>
              <a:t>Check-in (Vorschlag)</a:t>
            </a:r>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7" y="1412875"/>
            <a:ext cx="5364163" cy="4680000"/>
          </a:xfrm>
        </p:spPr>
        <p:txBody>
          <a:bodyPr vert="horz" lIns="0" tIns="0" rIns="0" bIns="0" rtlCol="0" anchor="t">
            <a:noAutofit/>
          </a:bodyPr>
          <a:lstStyle/>
          <a:p>
            <a:pPr marL="0" indent="0">
              <a:buNone/>
            </a:pPr>
            <a:r>
              <a:rPr lang="en-GB" sz="1600" b="1"/>
              <a:t>Bitte </a:t>
            </a:r>
            <a:r>
              <a:rPr lang="en-GB" sz="1600" b="1" err="1"/>
              <a:t>teile</a:t>
            </a:r>
            <a:r>
              <a:rPr lang="en-GB" sz="1600" b="1"/>
              <a:t> </a:t>
            </a:r>
            <a:r>
              <a:rPr lang="en-GB" sz="1600" b="1" err="1"/>
              <a:t>ein</a:t>
            </a:r>
            <a:r>
              <a:rPr lang="en-GB" sz="1600" b="1"/>
              <a:t> </a:t>
            </a:r>
            <a:r>
              <a:rPr lang="en-GB" sz="1600" b="1" err="1"/>
              <a:t>paar</a:t>
            </a:r>
            <a:r>
              <a:rPr lang="en-GB" sz="1600" b="1"/>
              <a:t> </a:t>
            </a:r>
            <a:r>
              <a:rPr lang="en-GB" sz="1600" b="1" err="1"/>
              <a:t>Sätze</a:t>
            </a:r>
            <a:r>
              <a:rPr lang="en-GB" sz="1600" b="1"/>
              <a:t> </a:t>
            </a:r>
            <a:r>
              <a:rPr lang="en-GB" sz="1600" b="1" err="1"/>
              <a:t>mit</a:t>
            </a:r>
            <a:r>
              <a:rPr lang="en-GB" sz="1600" b="1"/>
              <a:t> </a:t>
            </a:r>
            <a:r>
              <a:rPr lang="en-GB" sz="1600" b="1" err="1"/>
              <a:t>uns</a:t>
            </a:r>
            <a:r>
              <a:rPr lang="en-GB" sz="1600" b="1"/>
              <a:t>! </a:t>
            </a:r>
            <a:r>
              <a:rPr lang="en-GB" sz="1600" b="1" err="1"/>
              <a:t>Inspirationsquellen</a:t>
            </a:r>
            <a:r>
              <a:rPr lang="en-GB" sz="1600" b="1"/>
              <a:t>:</a:t>
            </a:r>
          </a:p>
          <a:p>
            <a:pPr marL="0" indent="0">
              <a:buNone/>
            </a:pPr>
            <a:endParaRPr lang="en-GB" sz="1600" b="1"/>
          </a:p>
          <a:p>
            <a:pPr>
              <a:spcBef>
                <a:spcPts val="0"/>
              </a:spcBef>
              <a:spcAft>
                <a:spcPts val="600"/>
              </a:spcAft>
            </a:pPr>
            <a:r>
              <a:rPr lang="de-CH" sz="1600">
                <a:ea typeface="+mn-lt"/>
                <a:cs typeface="+mn-lt"/>
                <a:hlinkClick r:id="rId2"/>
              </a:rPr>
              <a:t>Tscheck.in (Fragen-Generator)</a:t>
            </a:r>
            <a:r>
              <a:rPr lang="de-CH" sz="1600">
                <a:ea typeface="+mn-lt"/>
                <a:cs typeface="+mn-lt"/>
              </a:rPr>
              <a:t> – Beispiele:</a:t>
            </a:r>
          </a:p>
          <a:p>
            <a:pPr>
              <a:spcBef>
                <a:spcPts val="0"/>
              </a:spcBef>
              <a:spcAft>
                <a:spcPts val="600"/>
              </a:spcAft>
            </a:pPr>
            <a:endParaRPr lang="de-CH" sz="1600">
              <a:ea typeface="+mn-lt"/>
              <a:cs typeface="+mn-lt"/>
              <a:hlinkClick r:id="rId3"/>
            </a:endParaRPr>
          </a:p>
          <a:p>
            <a:pPr marL="0" indent="0">
              <a:spcBef>
                <a:spcPts val="0"/>
              </a:spcBef>
              <a:spcAft>
                <a:spcPts val="600"/>
              </a:spcAft>
              <a:buNone/>
            </a:pPr>
            <a:endParaRPr lang="de-CH" sz="1600">
              <a:ea typeface="+mn-lt"/>
              <a:cs typeface="+mn-lt"/>
              <a:hlinkClick r:id="rId3"/>
            </a:endParaRPr>
          </a:p>
          <a:p>
            <a:pPr marL="0" indent="0">
              <a:spcBef>
                <a:spcPts val="0"/>
              </a:spcBef>
              <a:spcAft>
                <a:spcPts val="600"/>
              </a:spcAft>
              <a:buNone/>
            </a:pPr>
            <a:endParaRPr lang="de-CH" sz="1600">
              <a:ea typeface="+mn-lt"/>
              <a:cs typeface="+mn-lt"/>
              <a:hlinkClick r:id="rId3"/>
            </a:endParaRPr>
          </a:p>
          <a:p>
            <a:pPr marL="0" indent="0">
              <a:spcBef>
                <a:spcPts val="0"/>
              </a:spcBef>
              <a:spcAft>
                <a:spcPts val="600"/>
              </a:spcAft>
              <a:buNone/>
            </a:pPr>
            <a:endParaRPr lang="de-CH" sz="1600">
              <a:ea typeface="+mn-lt"/>
              <a:cs typeface="+mn-lt"/>
              <a:hlinkClick r:id="rId3"/>
            </a:endParaRPr>
          </a:p>
          <a:p>
            <a:pPr marL="0" indent="0">
              <a:spcBef>
                <a:spcPts val="0"/>
              </a:spcBef>
              <a:spcAft>
                <a:spcPts val="600"/>
              </a:spcAft>
              <a:buNone/>
            </a:pPr>
            <a:endParaRPr lang="de-CH" sz="1600">
              <a:ea typeface="+mn-lt"/>
              <a:cs typeface="+mn-lt"/>
              <a:hlinkClick r:id="rId3"/>
            </a:endParaRPr>
          </a:p>
          <a:p>
            <a:pPr marL="0" indent="0">
              <a:spcBef>
                <a:spcPts val="0"/>
              </a:spcBef>
              <a:spcAft>
                <a:spcPts val="600"/>
              </a:spcAft>
              <a:buNone/>
            </a:pPr>
            <a:endParaRPr lang="de-CH" sz="1600">
              <a:ea typeface="+mn-lt"/>
              <a:cs typeface="+mn-lt"/>
              <a:hlinkClick r:id="rId3"/>
            </a:endParaRPr>
          </a:p>
          <a:p>
            <a:pPr>
              <a:spcBef>
                <a:spcPts val="0"/>
              </a:spcBef>
              <a:spcAft>
                <a:spcPts val="600"/>
              </a:spcAft>
            </a:pPr>
            <a:endParaRPr lang="de-CH" sz="1600">
              <a:ea typeface="+mn-lt"/>
              <a:cs typeface="+mn-lt"/>
              <a:hlinkClick r:id="rId3"/>
            </a:endParaRPr>
          </a:p>
          <a:p>
            <a:pPr>
              <a:spcBef>
                <a:spcPts val="0"/>
              </a:spcBef>
              <a:spcAft>
                <a:spcPts val="600"/>
              </a:spcAft>
            </a:pPr>
            <a:endParaRPr lang="de-CH" sz="1600">
              <a:ea typeface="+mn-lt"/>
              <a:cs typeface="+mn-lt"/>
              <a:hlinkClick r:id="rId3"/>
            </a:endParaRPr>
          </a:p>
          <a:p>
            <a:pPr>
              <a:spcBef>
                <a:spcPts val="0"/>
              </a:spcBef>
              <a:spcAft>
                <a:spcPts val="600"/>
              </a:spcAft>
            </a:pPr>
            <a:endParaRPr lang="de-CH" sz="1600">
              <a:ea typeface="+mn-lt"/>
              <a:cs typeface="+mn-lt"/>
              <a:hlinkClick r:id="rId3"/>
            </a:endParaRPr>
          </a:p>
          <a:p>
            <a:pPr>
              <a:spcBef>
                <a:spcPts val="0"/>
              </a:spcBef>
              <a:spcAft>
                <a:spcPts val="600"/>
              </a:spcAft>
            </a:pPr>
            <a:endParaRPr lang="de-CH" sz="1600">
              <a:ea typeface="+mn-lt"/>
              <a:cs typeface="+mn-lt"/>
              <a:hlinkClick r:id="rId3"/>
            </a:endParaRPr>
          </a:p>
          <a:p>
            <a:pPr>
              <a:spcBef>
                <a:spcPts val="0"/>
              </a:spcBef>
              <a:spcAft>
                <a:spcPts val="600"/>
              </a:spcAft>
            </a:pPr>
            <a:r>
              <a:rPr lang="de-CH" sz="1600">
                <a:ea typeface="+mn-lt"/>
                <a:cs typeface="+mn-lt"/>
                <a:hlinkClick r:id="rId3"/>
              </a:rPr>
              <a:t>Workshop-Spiele (Fokus auf Online-Meetings)</a:t>
            </a:r>
            <a:endParaRPr lang="de-CH">
              <a:ea typeface="+mn-lt"/>
              <a:cs typeface="+mn-lt"/>
            </a:endParaRPr>
          </a:p>
          <a:p>
            <a:pPr marL="0" indent="0">
              <a:spcBef>
                <a:spcPts val="0"/>
              </a:spcBef>
              <a:spcAft>
                <a:spcPts val="600"/>
              </a:spcAft>
              <a:buNone/>
            </a:pPr>
            <a:endParaRPr lang="de-CH" sz="1600">
              <a:ea typeface="+mn-lt"/>
              <a:cs typeface="+mn-lt"/>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fld id="{BBD868DC-0B72-462F-ABF5-28A93472DFB8}" type="datetime1">
              <a:rPr lang="de-CH" noProof="0" smtClean="0"/>
              <a:t>29.02.2024</a:t>
            </a:fld>
            <a:endParaRPr lang="de-CH" noProof="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r>
              <a:rPr lang="de-CH"/>
              <a:t>Einen Teamkonsens entwickeln und die Arbeitswelt der Zukunft gemeinsam gestalten</a:t>
            </a:r>
            <a:endParaRPr lang="en-US">
              <a:cs typeface="Arial"/>
            </a:endParaRPr>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fld id="{5ACA52AF-F19D-405C-AD5F-7D94B96A5CC3}" type="slidenum">
              <a:rPr lang="de-CH" noProof="0" smtClean="0"/>
              <a:t>16</a:t>
            </a:fld>
            <a:endParaRPr lang="de-CH" noProof="0"/>
          </a:p>
        </p:txBody>
      </p:sp>
      <p:pic>
        <p:nvPicPr>
          <p:cNvPr id="8" name="Picture 7" descr="A picture containing mountain, water, sky, outdoor&#10;&#10;Description automatically generated">
            <a:extLst>
              <a:ext uri="{FF2B5EF4-FFF2-40B4-BE49-F238E27FC236}">
                <a16:creationId xmlns:a16="http://schemas.microsoft.com/office/drawing/2014/main" id="{A6706CC3-8947-4813-8BE0-CC4FF62607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93669" y="1160351"/>
            <a:ext cx="3866493" cy="5155324"/>
          </a:xfrm>
          <a:prstGeom prst="rect">
            <a:avLst/>
          </a:prstGeom>
        </p:spPr>
      </p:pic>
      <p:pic>
        <p:nvPicPr>
          <p:cNvPr id="10" name="Grafik 9">
            <a:extLst>
              <a:ext uri="{FF2B5EF4-FFF2-40B4-BE49-F238E27FC236}">
                <a16:creationId xmlns:a16="http://schemas.microsoft.com/office/drawing/2014/main" id="{6FE4055E-3E6B-4474-A2CE-18842F606BD5}"/>
              </a:ext>
            </a:extLst>
          </p:cNvPr>
          <p:cNvPicPr>
            <a:picLocks noChangeAspect="1"/>
          </p:cNvPicPr>
          <p:nvPr/>
        </p:nvPicPr>
        <p:blipFill>
          <a:blip r:embed="rId5"/>
          <a:stretch>
            <a:fillRect/>
          </a:stretch>
        </p:blipFill>
        <p:spPr>
          <a:xfrm>
            <a:off x="731837" y="2420275"/>
            <a:ext cx="2389735" cy="1413926"/>
          </a:xfrm>
          <a:prstGeom prst="rect">
            <a:avLst/>
          </a:prstGeom>
        </p:spPr>
      </p:pic>
      <p:pic>
        <p:nvPicPr>
          <p:cNvPr id="12" name="Grafik 11">
            <a:extLst>
              <a:ext uri="{FF2B5EF4-FFF2-40B4-BE49-F238E27FC236}">
                <a16:creationId xmlns:a16="http://schemas.microsoft.com/office/drawing/2014/main" id="{5F783A66-5A74-4E68-BBA5-8A956AE16DDB}"/>
              </a:ext>
            </a:extLst>
          </p:cNvPr>
          <p:cNvPicPr>
            <a:picLocks noChangeAspect="1"/>
          </p:cNvPicPr>
          <p:nvPr/>
        </p:nvPicPr>
        <p:blipFill>
          <a:blip r:embed="rId6"/>
          <a:stretch>
            <a:fillRect/>
          </a:stretch>
        </p:blipFill>
        <p:spPr>
          <a:xfrm>
            <a:off x="3258207" y="2420276"/>
            <a:ext cx="2344865" cy="1413926"/>
          </a:xfrm>
          <a:prstGeom prst="rect">
            <a:avLst/>
          </a:prstGeom>
        </p:spPr>
      </p:pic>
      <p:pic>
        <p:nvPicPr>
          <p:cNvPr id="14" name="Grafik 13">
            <a:extLst>
              <a:ext uri="{FF2B5EF4-FFF2-40B4-BE49-F238E27FC236}">
                <a16:creationId xmlns:a16="http://schemas.microsoft.com/office/drawing/2014/main" id="{DDDEC08A-4E6C-43B2-B5B1-AFE10744E31A}"/>
              </a:ext>
            </a:extLst>
          </p:cNvPr>
          <p:cNvPicPr>
            <a:picLocks noChangeAspect="1"/>
          </p:cNvPicPr>
          <p:nvPr/>
        </p:nvPicPr>
        <p:blipFill>
          <a:blip r:embed="rId7"/>
          <a:stretch>
            <a:fillRect/>
          </a:stretch>
        </p:blipFill>
        <p:spPr>
          <a:xfrm>
            <a:off x="3258207" y="3950809"/>
            <a:ext cx="2344865" cy="1342368"/>
          </a:xfrm>
          <a:prstGeom prst="rect">
            <a:avLst/>
          </a:prstGeom>
        </p:spPr>
      </p:pic>
      <p:pic>
        <p:nvPicPr>
          <p:cNvPr id="16" name="Grafik 15">
            <a:extLst>
              <a:ext uri="{FF2B5EF4-FFF2-40B4-BE49-F238E27FC236}">
                <a16:creationId xmlns:a16="http://schemas.microsoft.com/office/drawing/2014/main" id="{AB009935-8664-402E-BDCF-4E2253BCDD8F}"/>
              </a:ext>
            </a:extLst>
          </p:cNvPr>
          <p:cNvPicPr>
            <a:picLocks noChangeAspect="1"/>
          </p:cNvPicPr>
          <p:nvPr/>
        </p:nvPicPr>
        <p:blipFill>
          <a:blip r:embed="rId8"/>
          <a:stretch>
            <a:fillRect/>
          </a:stretch>
        </p:blipFill>
        <p:spPr>
          <a:xfrm>
            <a:off x="731837" y="3950809"/>
            <a:ext cx="2389735" cy="1342368"/>
          </a:xfrm>
          <a:prstGeom prst="rect">
            <a:avLst/>
          </a:prstGeom>
        </p:spPr>
      </p:pic>
      <p:sp>
        <p:nvSpPr>
          <p:cNvPr id="7" name="Rechteck 6">
            <a:extLst>
              <a:ext uri="{FF2B5EF4-FFF2-40B4-BE49-F238E27FC236}">
                <a16:creationId xmlns:a16="http://schemas.microsoft.com/office/drawing/2014/main" id="{4EEF28D3-ECB8-4C59-9270-E65402E2F891}"/>
              </a:ext>
            </a:extLst>
          </p:cNvPr>
          <p:cNvSpPr/>
          <p:nvPr/>
        </p:nvSpPr>
        <p:spPr>
          <a:xfrm>
            <a:off x="-147145" y="-105103"/>
            <a:ext cx="12423228" cy="7073462"/>
          </a:xfrm>
          <a:prstGeom prst="rect">
            <a:avLst/>
          </a:prstGeom>
          <a:solidFill>
            <a:schemeClr val="tx1">
              <a:alpha val="7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2B68A964-FCDE-4A36-85BA-08758536C95C}"/>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a:t>Hintergrundinfos </a:t>
            </a:r>
            <a:br>
              <a:rPr lang="de-DE"/>
            </a:br>
            <a:r>
              <a:rPr lang="de-DE"/>
              <a:t>für Vorgesetzte</a:t>
            </a:r>
          </a:p>
        </p:txBody>
      </p:sp>
      <p:sp>
        <p:nvSpPr>
          <p:cNvPr id="9" name="Rechteck: abgerundete Ecken 8">
            <a:extLst>
              <a:ext uri="{FF2B5EF4-FFF2-40B4-BE49-F238E27FC236}">
                <a16:creationId xmlns:a16="http://schemas.microsoft.com/office/drawing/2014/main" id="{0E2807F2-D9BD-433B-B6EF-CF115AF7F215}"/>
              </a:ext>
            </a:extLst>
          </p:cNvPr>
          <p:cNvSpPr/>
          <p:nvPr/>
        </p:nvSpPr>
        <p:spPr>
          <a:xfrm>
            <a:off x="594911" y="1949986"/>
            <a:ext cx="6338413" cy="4142889"/>
          </a:xfrm>
          <a:prstGeom prst="roundRect">
            <a:avLst>
              <a:gd name="adj" fmla="val 815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pPr>
            <a:r>
              <a:rPr lang="de-DE" dirty="0"/>
              <a:t>Ein Check-in dient dem Ankommen, der Auflockerung und dem Warmwerden. Es schafft eine positive Atmosphäre für alles Weitere.</a:t>
            </a:r>
          </a:p>
          <a:p>
            <a:pPr marL="285750" indent="-285750" algn="ctr">
              <a:buFont typeface="Arial" panose="020B0604020202020204" pitchFamily="34" charset="0"/>
              <a:buChar char="•"/>
            </a:pPr>
            <a:endParaRPr lang="de-DE" dirty="0"/>
          </a:p>
          <a:p>
            <a:pPr marL="285750" indent="-285750" algn="ctr">
              <a:buFont typeface="Arial" panose="020B0604020202020204" pitchFamily="34" charset="0"/>
              <a:buChar char="•"/>
            </a:pPr>
            <a:r>
              <a:rPr lang="de-DE" dirty="0"/>
              <a:t>Bitte die Seite an die eigenen Bedürfnisse anpassen, </a:t>
            </a:r>
            <a:br>
              <a:rPr lang="de-DE" dirty="0"/>
            </a:br>
            <a:r>
              <a:rPr lang="de-DE" dirty="0"/>
              <a:t>z. B. durch eine Vorauswahl von Fragen oder eigens ausgedachte Fragen.</a:t>
            </a:r>
          </a:p>
          <a:p>
            <a:pPr marL="285750" indent="-285750" algn="ctr">
              <a:buFont typeface="Arial" panose="020B0604020202020204" pitchFamily="34" charset="0"/>
              <a:buChar char="•"/>
            </a:pPr>
            <a:endParaRPr lang="de-DE" dirty="0"/>
          </a:p>
          <a:p>
            <a:pPr marL="285750" indent="-285750" algn="ctr">
              <a:buFont typeface="Arial" panose="020B0604020202020204" pitchFamily="34" charset="0"/>
              <a:buChar char="•"/>
            </a:pPr>
            <a:r>
              <a:rPr lang="de-DE" dirty="0"/>
              <a:t>Alternativ direkt auf Tscheck.in anfangen und sich überraschen lassen. </a:t>
            </a:r>
          </a:p>
          <a:p>
            <a:pPr algn="ctr"/>
            <a:endParaRPr lang="de-DE" dirty="0"/>
          </a:p>
          <a:p>
            <a:pPr marL="285750" indent="-285750" algn="ctr">
              <a:buFont typeface="Arial" panose="020B0604020202020204" pitchFamily="34" charset="0"/>
              <a:buChar char="•"/>
            </a:pPr>
            <a:r>
              <a:rPr lang="de-CH" b="0" i="0" u="none" baseline="0" dirty="0">
                <a:solidFill>
                  <a:schemeClr val="bg1"/>
                </a:solidFill>
              </a:rPr>
              <a:t>Weitere Ideen finden Sie </a:t>
            </a:r>
            <a:r>
              <a:rPr lang="de-CH" b="0" i="0" u="none" baseline="0" dirty="0">
                <a:solidFill>
                  <a:schemeClr val="bg1"/>
                </a:solidFill>
                <a:hlinkClick r:id="rId9">
                  <a:extLst>
                    <a:ext uri="{A12FA001-AC4F-418D-AE19-62706E023703}">
                      <ahyp:hlinkClr xmlns:ahyp="http://schemas.microsoft.com/office/drawing/2018/hyperlinkcolor" val="tx"/>
                    </a:ext>
                  </a:extLst>
                </a:hlinkClick>
              </a:rPr>
              <a:t>hier</a:t>
            </a:r>
            <a:r>
              <a:rPr lang="de-CH" b="0" i="0" u="none" baseline="0" dirty="0">
                <a:solidFill>
                  <a:schemeClr val="bg1"/>
                </a:solidFill>
              </a:rPr>
              <a:t>.</a:t>
            </a:r>
            <a:endParaRPr lang="de-CH" b="0" i="0" u="none" baseline="0" dirty="0"/>
          </a:p>
          <a:p>
            <a:pPr marL="285750" indent="-285750" algn="ctr">
              <a:buFont typeface="Arial" panose="020B0604020202020204" pitchFamily="34" charset="0"/>
              <a:buChar char="•"/>
            </a:pPr>
            <a:endParaRPr lang="de-DE" dirty="0"/>
          </a:p>
        </p:txBody>
      </p:sp>
    </p:spTree>
    <p:extLst>
      <p:ext uri="{BB962C8B-B14F-4D97-AF65-F5344CB8AC3E}">
        <p14:creationId xmlns:p14="http://schemas.microsoft.com/office/powerpoint/2010/main" val="11079281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3857509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DF94E7B6-3482-46C3-945E-1041538965E2}"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17</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338557302"/>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a:effectLst/>
                        </a:rPr>
                        <a:t>2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kern="1200" baseline="0">
                          <a:effectLst/>
                        </a:rPr>
                        <a:t>Check-in</a:t>
                      </a:r>
                      <a:endParaRPr lang="de-CH" sz="1600" b="0" i="0" u="none" kern="1200" baseline="0" dirty="0">
                        <a:effectLst/>
                      </a:endParaRP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solidFill>
                            <a:schemeClr val="bg1"/>
                          </a:solidFill>
                          <a:effectLst/>
                        </a:rPr>
                        <a:t>30 Min.</a:t>
                      </a:r>
                      <a:endParaRPr lang="de-CH" sz="1600" noProof="0" dirty="0">
                        <a:solidFill>
                          <a:schemeClr val="bg1"/>
                        </a:solidFill>
                        <a:effectLst/>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de-CH" sz="1600" b="0" i="0" u="none" baseline="0" dirty="0">
                          <a:solidFill>
                            <a:schemeClr val="bg1"/>
                          </a:solidFill>
                        </a:rPr>
                        <a:t>Zusammenarbeit</a:t>
                      </a:r>
                      <a:endParaRPr lang="de-CH" sz="1600" b="0" i="0" u="none" kern="1200" baseline="0" dirty="0">
                        <a:solidFill>
                          <a:schemeClr val="bg1"/>
                        </a:solidFill>
                        <a:effectLst/>
                      </a:endParaRPr>
                    </a:p>
                  </a:txBody>
                  <a:tcPr marL="72000" marR="0" marT="0" marB="0" anchor="ctr">
                    <a:solidFill>
                      <a:schemeClr val="accent2"/>
                    </a:solidFill>
                  </a:tcP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ielerreichung</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usammenhalt und Wohlbefinden im Team</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effectLst/>
                        </a:rPr>
                        <a:t>20 Min.</a:t>
                      </a:r>
                      <a:endParaRPr lang="de-CH" sz="1600" noProof="0" dirty="0"/>
                    </a:p>
                  </a:txBody>
                  <a:tcPr marL="72000" marR="0" marT="0" marB="0" anchor="ctr"/>
                </a:tc>
                <a:tc>
                  <a:txBody>
                    <a:bodyPr/>
                    <a:lstStyle/>
                    <a:p>
                      <a:pPr marL="0" algn="l" rtl="0" eaLnBrk="1" latinLnBrk="0" hangingPunct="1">
                        <a:spcBef>
                          <a:spcPts val="0"/>
                        </a:spcBef>
                        <a:spcAft>
                          <a:spcPts val="0"/>
                        </a:spcAft>
                      </a:pPr>
                      <a:r>
                        <a:rPr lang="de-CH" sz="1600" b="0" i="0" u="none" kern="1200" baseline="0" dirty="0">
                          <a:effectLst/>
                        </a:rPr>
                        <a:t>Check-out &amp; Verabschiedung</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18688018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55A7B0-3099-8ED9-DD67-7FDA65BEA332}"/>
              </a:ext>
            </a:extLst>
          </p:cNvPr>
          <p:cNvGraphicFramePr>
            <a:graphicFrameLocks noChangeAspect="1"/>
          </p:cNvGraphicFramePr>
          <p:nvPr>
            <p:custDataLst>
              <p:tags r:id="rId1"/>
            </p:custDataLst>
            <p:extLst>
              <p:ext uri="{D42A27DB-BD31-4B8C-83A1-F6EECF244321}">
                <p14:modId xmlns:p14="http://schemas.microsoft.com/office/powerpoint/2010/main" val="4080542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5755A7B0-3099-8ED9-DD67-7FDA65BEA3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el 7">
            <a:extLst>
              <a:ext uri="{FF2B5EF4-FFF2-40B4-BE49-F238E27FC236}">
                <a16:creationId xmlns:a16="http://schemas.microsoft.com/office/drawing/2014/main" id="{7615A340-A42F-4355-AF9F-1FA9C8C871B5}"/>
              </a:ext>
            </a:extLst>
          </p:cNvPr>
          <p:cNvSpPr>
            <a:spLocks noGrp="1"/>
          </p:cNvSpPr>
          <p:nvPr>
            <p:ph type="title"/>
          </p:nvPr>
        </p:nvSpPr>
        <p:spPr/>
        <p:txBody>
          <a:bodyPr vert="horz"/>
          <a:lstStyle/>
          <a:p>
            <a:pPr algn="l"/>
            <a:r>
              <a:rPr lang="de-CH" dirty="0"/>
              <a:t>Zusammenarbeit</a:t>
            </a:r>
          </a:p>
        </p:txBody>
      </p:sp>
      <p:sp>
        <p:nvSpPr>
          <p:cNvPr id="9" name="Inhaltsplatzhalter 8">
            <a:extLst>
              <a:ext uri="{FF2B5EF4-FFF2-40B4-BE49-F238E27FC236}">
                <a16:creationId xmlns:a16="http://schemas.microsoft.com/office/drawing/2014/main" id="{9209AE63-3AA5-4052-B998-05A99361B659}"/>
              </a:ext>
            </a:extLst>
          </p:cNvPr>
          <p:cNvSpPr>
            <a:spLocks noGrp="1"/>
          </p:cNvSpPr>
          <p:nvPr>
            <p:ph idx="1"/>
          </p:nvPr>
        </p:nvSpPr>
        <p:spPr/>
        <p:txBody>
          <a:bodyPr vert="horz" lIns="0" tIns="0" rIns="0" bIns="0" rtlCol="0" anchor="t">
            <a:noAutofit/>
          </a:bodyPr>
          <a:lstStyle/>
          <a:p>
            <a:pPr marL="342900" indent="-342900" algn="l">
              <a:spcBef>
                <a:spcPts val="0"/>
              </a:spcBef>
              <a:spcAft>
                <a:spcPts val="600"/>
              </a:spcAft>
              <a:buFont typeface="+mj-lt"/>
              <a:buAutoNum type="arabicPeriod"/>
            </a:pPr>
            <a:r>
              <a:rPr lang="de-CH" b="0" i="0" u="none" baseline="0" dirty="0"/>
              <a:t>Mit Hilfe von Moderationskarten oder Post-</a:t>
            </a:r>
            <a:r>
              <a:rPr lang="de-CH" b="0" i="0" u="none" baseline="0" dirty="0" err="1"/>
              <a:t>Its</a:t>
            </a:r>
            <a:r>
              <a:rPr lang="de-CH" b="0" i="0" u="none" baseline="0" dirty="0"/>
              <a:t> schreibt jede Person ihre Gedanken zu den Fragen auf der nächsten Folie auf und berücksichtigt dabei auch die drei verschiedenen Perspektiven (Rückblick, Zukunftsgestaltung und Aktion) </a:t>
            </a:r>
            <a:r>
              <a:rPr lang="de-CH" b="1" i="0" u="none" baseline="0" dirty="0"/>
              <a:t>(10 Minuten)</a:t>
            </a:r>
            <a:r>
              <a:rPr lang="de-CH" b="0" i="0" u="none" baseline="0" dirty="0"/>
              <a:t>.</a:t>
            </a:r>
          </a:p>
          <a:p>
            <a:pPr marL="342900" indent="-342900" algn="l">
              <a:spcBef>
                <a:spcPts val="0"/>
              </a:spcBef>
              <a:spcAft>
                <a:spcPts val="600"/>
              </a:spcAft>
              <a:buFont typeface="+mj-lt"/>
              <a:buAutoNum type="arabicPeriod"/>
            </a:pPr>
            <a:endParaRPr lang="de-CH" dirty="0">
              <a:effectLst/>
            </a:endParaRPr>
          </a:p>
          <a:p>
            <a:pPr marL="342900" indent="-342900">
              <a:spcBef>
                <a:spcPts val="0"/>
              </a:spcBef>
              <a:spcAft>
                <a:spcPts val="600"/>
              </a:spcAft>
              <a:buFont typeface="+mj-lt"/>
              <a:buAutoNum type="arabicPeriod"/>
            </a:pPr>
            <a:r>
              <a:rPr lang="de-CH" b="0" i="0" dirty="0"/>
              <a:t>Ordnen Sie die Post-</a:t>
            </a:r>
            <a:r>
              <a:rPr lang="de-CH" b="0" i="0" dirty="0" err="1"/>
              <a:t>Its</a:t>
            </a:r>
            <a:r>
              <a:rPr lang="de-CH" b="0" i="0" dirty="0"/>
              <a:t> entsprechend den drei Perspektiven in drei Clustern an der Tafel an. Ähnliche/verwandte Punkte können dabei geclustert werden </a:t>
            </a:r>
            <a:r>
              <a:rPr lang="de-CH" b="1" i="0" dirty="0"/>
              <a:t>(5 Minuten)</a:t>
            </a:r>
            <a:r>
              <a:rPr lang="de-CH" b="0" i="0" dirty="0"/>
              <a:t>.</a:t>
            </a:r>
          </a:p>
          <a:p>
            <a:pPr marL="342900" indent="-342900">
              <a:spcBef>
                <a:spcPts val="0"/>
              </a:spcBef>
              <a:spcAft>
                <a:spcPts val="600"/>
              </a:spcAft>
              <a:buFont typeface="+mj-lt"/>
              <a:buAutoNum type="arabicPeriod"/>
            </a:pPr>
            <a:endParaRPr lang="de-CH" b="0" i="0" dirty="0">
              <a:effectLst/>
            </a:endParaRPr>
          </a:p>
          <a:p>
            <a:pPr marL="342900" indent="-342900" algn="l">
              <a:spcBef>
                <a:spcPts val="0"/>
              </a:spcBef>
              <a:spcAft>
                <a:spcPts val="600"/>
              </a:spcAft>
              <a:buFont typeface="+mj-lt"/>
              <a:buAutoNum type="arabicPeriod"/>
            </a:pPr>
            <a:r>
              <a:rPr lang="de-CH" b="0" i="0" u="none" baseline="0" dirty="0">
                <a:effectLst/>
              </a:rPr>
              <a:t>Lassen Sie sich auf eine offene Diskussion über die Ergebnisse ein, in der alle Mitglieder kurz erklären, was sie geschrieben haben und wie sie es begründen </a:t>
            </a:r>
            <a:r>
              <a:rPr lang="de-CH" b="1" i="0" u="none" baseline="0" dirty="0">
                <a:effectLst/>
              </a:rPr>
              <a:t>(15 Minuten)</a:t>
            </a:r>
            <a:r>
              <a:rPr lang="de-CH" i="0" u="none" baseline="0" dirty="0">
                <a:effectLst/>
              </a:rPr>
              <a:t>.</a:t>
            </a:r>
            <a:endParaRPr lang="de-CH" sz="1600" dirty="0">
              <a:sym typeface="Wingdings" panose="05000000000000000000" pitchFamily="2" charset="2"/>
            </a:endParaRPr>
          </a:p>
        </p:txBody>
      </p:sp>
      <p:sp>
        <p:nvSpPr>
          <p:cNvPr id="4" name="Datumsplatzhalter 3">
            <a:extLst>
              <a:ext uri="{FF2B5EF4-FFF2-40B4-BE49-F238E27FC236}">
                <a16:creationId xmlns:a16="http://schemas.microsoft.com/office/drawing/2014/main" id="{FA5818C9-C9D1-48A7-9FE3-27F36290F121}"/>
              </a:ext>
            </a:extLst>
          </p:cNvPr>
          <p:cNvSpPr>
            <a:spLocks noGrp="1"/>
          </p:cNvSpPr>
          <p:nvPr>
            <p:ph type="dt" sz="half" idx="10"/>
          </p:nvPr>
        </p:nvSpPr>
        <p:spPr/>
        <p:txBody>
          <a:bodyPr/>
          <a:lstStyle/>
          <a:p>
            <a:pPr algn="l"/>
            <a:fld id="{C1A55252-19D7-4F74-B2C0-1BCD4D875139}" type="datetime1">
              <a:rPr lang="de-CH" smtClean="0"/>
              <a:t>29.02.2024</a:t>
            </a:fld>
            <a:endParaRPr lang="de-CH" noProof="0" dirty="0"/>
          </a:p>
        </p:txBody>
      </p:sp>
      <p:sp>
        <p:nvSpPr>
          <p:cNvPr id="5" name="Fußzeilenplatzhalter 4">
            <a:extLst>
              <a:ext uri="{FF2B5EF4-FFF2-40B4-BE49-F238E27FC236}">
                <a16:creationId xmlns:a16="http://schemas.microsoft.com/office/drawing/2014/main" id="{B4E16BDA-60AE-4049-B980-EBCC04B91BB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CCDE28A4-0308-43D9-927A-710ACA164CBA}"/>
              </a:ext>
            </a:extLst>
          </p:cNvPr>
          <p:cNvSpPr>
            <a:spLocks noGrp="1"/>
          </p:cNvSpPr>
          <p:nvPr>
            <p:ph type="sldNum" sz="quarter" idx="12"/>
          </p:nvPr>
        </p:nvSpPr>
        <p:spPr/>
        <p:txBody>
          <a:bodyPr/>
          <a:lstStyle/>
          <a:p>
            <a:pPr algn="r"/>
            <a:fld id="{5ACA52AF-F19D-405C-AD5F-7D94B96A5CC3}" type="slidenum">
              <a:rPr lang="de-CH" smtClean="0"/>
              <a:pPr algn="r"/>
              <a:t>18</a:t>
            </a:fld>
            <a:endParaRPr lang="de-CH" noProof="0" dirty="0"/>
          </a:p>
        </p:txBody>
      </p:sp>
      <p:pic>
        <p:nvPicPr>
          <p:cNvPr id="13" name="Bildplatzhalter 12" descr="Picture of person inside and a wall.&#10;&#10;Automatically generated description">
            <a:extLst>
              <a:ext uri="{FF2B5EF4-FFF2-40B4-BE49-F238E27FC236}">
                <a16:creationId xmlns:a16="http://schemas.microsoft.com/office/drawing/2014/main" id="{59FE2311-5D11-48DC-BA97-201E1F53800E}"/>
              </a:ext>
            </a:extLst>
          </p:cNvPr>
          <p:cNvPicPr>
            <a:picLocks noGrp="1" noChangeAspect="1"/>
          </p:cNvPicPr>
          <p:nvPr>
            <p:ph type="pic" sz="quarter" idx="13"/>
          </p:nvPr>
        </p:nvPicPr>
        <p:blipFill rotWithShape="1">
          <a:blip r:embed="rId6"/>
          <a:srcRect l="30245" t="179" r="605" b="-179"/>
          <a:stretch/>
        </p:blipFill>
        <p:spPr>
          <a:xfrm>
            <a:off x="731838" y="1412875"/>
            <a:ext cx="5040000" cy="4860000"/>
          </a:xfrm>
        </p:spPr>
      </p:pic>
      <p:sp>
        <p:nvSpPr>
          <p:cNvPr id="10" name="Rechteck 9">
            <a:extLst>
              <a:ext uri="{FF2B5EF4-FFF2-40B4-BE49-F238E27FC236}">
                <a16:creationId xmlns:a16="http://schemas.microsoft.com/office/drawing/2014/main" id="{EDBD1B4F-7081-4E51-8198-482E2FAE9322}"/>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12570368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166416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sz="2800" b="0" i="0" u="none" kern="1200" baseline="0" dirty="0">
                <a:effectLst/>
              </a:rPr>
              <a:t>Zusammenarbeit - Fragen und Perspektiven</a:t>
            </a:r>
            <a:endParaRPr lang="de-CH" b="0" i="0" u="none" baseline="0" dirty="0"/>
          </a:p>
        </p:txBody>
      </p:sp>
      <p:sp>
        <p:nvSpPr>
          <p:cNvPr id="4" name="Datumsplatzhalter 3"/>
          <p:cNvSpPr>
            <a:spLocks noGrp="1"/>
          </p:cNvSpPr>
          <p:nvPr>
            <p:ph type="dt" sz="half" idx="10"/>
          </p:nvPr>
        </p:nvSpPr>
        <p:spPr/>
        <p:txBody>
          <a:bodyPr/>
          <a:lstStyle/>
          <a:p>
            <a:pPr algn="l"/>
            <a:fld id="{87E04576-98F1-4992-AB9D-B4C78B8C62B7}" type="datetime1">
              <a:rPr lang="de-CH" smtClean="0"/>
              <a:t>29.02.2024</a:t>
            </a:fld>
            <a:endParaRPr lang="de-CH"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19</a:t>
            </a:fld>
            <a:endParaRPr lang="de-CH" noProof="0" dirty="0"/>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
        <p:nvSpPr>
          <p:cNvPr id="19" name="Arrow: Pentagon 18">
            <a:extLst>
              <a:ext uri="{FF2B5EF4-FFF2-40B4-BE49-F238E27FC236}">
                <a16:creationId xmlns:a16="http://schemas.microsoft.com/office/drawing/2014/main" id="{A0AA57D8-6525-B82E-1C62-1D086A2C61F0}"/>
              </a:ext>
            </a:extLst>
          </p:cNvPr>
          <p:cNvSpPr/>
          <p:nvPr/>
        </p:nvSpPr>
        <p:spPr>
          <a:xfrm>
            <a:off x="7571269" y="2672443"/>
            <a:ext cx="2124000"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latin typeface="Arial"/>
                <a:ea typeface="Arial"/>
                <a:cs typeface="Arial"/>
              </a:rPr>
              <a:t>Die Zukunft gestalten - </a:t>
            </a:r>
            <a:r>
              <a:rPr lang="de-CH" i="0" u="none" baseline="0" dirty="0">
                <a:solidFill>
                  <a:schemeClr val="tx1"/>
                </a:solidFill>
                <a:latin typeface="Arial"/>
                <a:ea typeface="Arial"/>
                <a:cs typeface="Arial"/>
              </a:rPr>
              <a:t>Wie möchten wir sie haben?</a:t>
            </a:r>
          </a:p>
        </p:txBody>
      </p:sp>
      <p:sp>
        <p:nvSpPr>
          <p:cNvPr id="20" name="Arrow: Pentagon 19">
            <a:extLst>
              <a:ext uri="{FF2B5EF4-FFF2-40B4-BE49-F238E27FC236}">
                <a16:creationId xmlns:a16="http://schemas.microsoft.com/office/drawing/2014/main" id="{CF7B0E3C-915D-6129-4612-FFB31E8E9DE1}"/>
              </a:ext>
            </a:extLst>
          </p:cNvPr>
          <p:cNvSpPr/>
          <p:nvPr/>
        </p:nvSpPr>
        <p:spPr>
          <a:xfrm>
            <a:off x="568547" y="2672443"/>
            <a:ext cx="2124000"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rPr>
              <a:t>Rückblick - </a:t>
            </a:r>
            <a:r>
              <a:rPr lang="de-CH" i="0" u="none" baseline="0" dirty="0">
                <a:solidFill>
                  <a:schemeClr val="tx1"/>
                </a:solidFill>
              </a:rPr>
              <a:t>Wie ist es bisher gelaufen?</a:t>
            </a:r>
            <a:endParaRPr lang="de-CH" i="0" u="none" baseline="0" dirty="0">
              <a:solidFill>
                <a:schemeClr val="tx1"/>
              </a:solidFill>
              <a:latin typeface="Arial"/>
              <a:ea typeface="Arial"/>
              <a:cs typeface="Arial"/>
            </a:endParaRPr>
          </a:p>
        </p:txBody>
      </p:sp>
      <p:sp>
        <p:nvSpPr>
          <p:cNvPr id="24" name="Arrow: Pentagon 23">
            <a:extLst>
              <a:ext uri="{FF2B5EF4-FFF2-40B4-BE49-F238E27FC236}">
                <a16:creationId xmlns:a16="http://schemas.microsoft.com/office/drawing/2014/main" id="{75D38813-0E3F-5E16-F430-0CD6F710989C}"/>
              </a:ext>
            </a:extLst>
          </p:cNvPr>
          <p:cNvSpPr/>
          <p:nvPr/>
        </p:nvSpPr>
        <p:spPr>
          <a:xfrm>
            <a:off x="9767677" y="2672443"/>
            <a:ext cx="2124000" cy="1496786"/>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latin typeface="Arial"/>
                <a:ea typeface="Arial"/>
                <a:cs typeface="Arial"/>
              </a:rPr>
              <a:t>Handeln - </a:t>
            </a:r>
            <a:r>
              <a:rPr lang="de-CH" i="0" u="none" baseline="0" dirty="0">
                <a:solidFill>
                  <a:schemeClr val="tx1"/>
                </a:solidFill>
                <a:latin typeface="Arial"/>
                <a:ea typeface="Arial"/>
                <a:cs typeface="Arial"/>
              </a:rPr>
              <a:t>Was werden wir tun?</a:t>
            </a:r>
          </a:p>
        </p:txBody>
      </p:sp>
      <p:pic>
        <p:nvPicPr>
          <p:cNvPr id="26" name="Graphic 25" descr="Drawing Figure outline">
            <a:extLst>
              <a:ext uri="{FF2B5EF4-FFF2-40B4-BE49-F238E27FC236}">
                <a16:creationId xmlns:a16="http://schemas.microsoft.com/office/drawing/2014/main" id="{31E44439-1382-DDF9-F549-7C738C452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75515" y="4185557"/>
            <a:ext cx="914400" cy="914400"/>
          </a:xfrm>
          <a:prstGeom prst="rect">
            <a:avLst/>
          </a:prstGeom>
        </p:spPr>
      </p:pic>
      <p:sp>
        <p:nvSpPr>
          <p:cNvPr id="28" name="Rechteck 9">
            <a:extLst>
              <a:ext uri="{FF2B5EF4-FFF2-40B4-BE49-F238E27FC236}">
                <a16:creationId xmlns:a16="http://schemas.microsoft.com/office/drawing/2014/main" id="{78A878A6-2955-34DC-8D75-4E2128930BD8}"/>
              </a:ext>
            </a:extLst>
          </p:cNvPr>
          <p:cNvSpPr/>
          <p:nvPr/>
        </p:nvSpPr>
        <p:spPr>
          <a:xfrm>
            <a:off x="2699645" y="914401"/>
            <a:ext cx="4871623" cy="5508170"/>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de-CH" b="1" i="0" u="none" baseline="0" dirty="0">
                <a:solidFill>
                  <a:schemeClr val="tx1"/>
                </a:solidFill>
              </a:rPr>
              <a:t>Leitfragen</a:t>
            </a:r>
          </a:p>
          <a:p>
            <a:pPr marL="342900" lvl="0" indent="-342900" algn="l">
              <a:buFont typeface="+mj-lt"/>
              <a:buAutoNum type="arabicPeriod"/>
            </a:pPr>
            <a:r>
              <a:rPr lang="de-CH" b="0" i="0" u="none" baseline="0" dirty="0">
                <a:solidFill>
                  <a:schemeClr val="tx1"/>
                </a:solidFill>
              </a:rPr>
              <a:t>Wie organisieren wir unsere Zusammenarbeit?</a:t>
            </a:r>
          </a:p>
          <a:p>
            <a:pPr marL="342900" lvl="0" indent="-342900" algn="l">
              <a:buFont typeface="+mj-lt"/>
              <a:buAutoNum type="arabicPeriod"/>
            </a:pPr>
            <a:r>
              <a:rPr lang="de-CH" b="0" i="0" u="none" baseline="0" dirty="0">
                <a:solidFill>
                  <a:schemeClr val="tx1"/>
                </a:solidFill>
              </a:rPr>
              <a:t>Wie ist das Gleichgewicht zwischen der Arbeit vor Ort und dem standortunabhängigen Arbeiten, und wie planen wir es (spontane vs. feste Tage)?</a:t>
            </a:r>
          </a:p>
          <a:p>
            <a:pPr marL="342900" lvl="0" indent="-342900" algn="l">
              <a:buFont typeface="+mj-lt"/>
              <a:buAutoNum type="arabicPeriod"/>
            </a:pPr>
            <a:r>
              <a:rPr lang="de-CH" b="0" i="0" u="none" baseline="0" dirty="0">
                <a:solidFill>
                  <a:schemeClr val="tx1"/>
                </a:solidFill>
              </a:rPr>
              <a:t>Wie sorgen wir für Transparenz in Bezug auf Arbeitszeiten und -orte für alle Teammitglieder?</a:t>
            </a:r>
          </a:p>
          <a:p>
            <a:pPr marL="342900" lvl="0" indent="-342900" algn="l">
              <a:buFont typeface="+mj-lt"/>
              <a:buAutoNum type="arabicPeriod"/>
            </a:pPr>
            <a:r>
              <a:rPr lang="de-CH" b="0" i="0" u="none" baseline="0" dirty="0">
                <a:solidFill>
                  <a:schemeClr val="tx1"/>
                </a:solidFill>
              </a:rPr>
              <a:t>Wie sieht der Zeitplan für die verschiedenen Formen des Austauschs aus?</a:t>
            </a:r>
          </a:p>
          <a:p>
            <a:pPr marL="342900" lvl="0" indent="-342900" algn="l">
              <a:buFont typeface="+mj-lt"/>
              <a:buAutoNum type="arabicPeriod"/>
            </a:pPr>
            <a:r>
              <a:rPr lang="de-CH" b="0" i="0" u="none" baseline="0" dirty="0">
                <a:solidFill>
                  <a:schemeClr val="tx1"/>
                </a:solidFill>
              </a:rPr>
              <a:t>Wie gehen wir mit Situationen um, in denen die Notwendigkeit der Arbeit vor Ort oder der Wunsch von Kolleg/innen oder Dritten nach einem persönlichen Treffen mit der individuellen Planung kollidiert?</a:t>
            </a:r>
          </a:p>
          <a:p>
            <a:pPr marL="342900" lvl="0" indent="-342900" algn="l">
              <a:buFont typeface="+mj-lt"/>
              <a:buAutoNum type="arabicPeriod"/>
            </a:pPr>
            <a:r>
              <a:rPr lang="de-CH" dirty="0">
                <a:solidFill>
                  <a:schemeClr val="tx1"/>
                </a:solidFill>
              </a:rPr>
              <a:t>…</a:t>
            </a:r>
            <a:endParaRPr lang="de-CH" b="0" i="0" u="none" baseline="0" dirty="0">
              <a:solidFill>
                <a:schemeClr val="tx1"/>
              </a:solidFill>
            </a:endParaRPr>
          </a:p>
        </p:txBody>
      </p:sp>
    </p:spTree>
    <p:extLst>
      <p:ext uri="{BB962C8B-B14F-4D97-AF65-F5344CB8AC3E}">
        <p14:creationId xmlns:p14="http://schemas.microsoft.com/office/powerpoint/2010/main" val="10807940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FC14056-3291-216C-B428-AFA1A2516319}"/>
              </a:ext>
            </a:extLst>
          </p:cNvPr>
          <p:cNvGraphicFramePr>
            <a:graphicFrameLocks noChangeAspect="1"/>
          </p:cNvGraphicFramePr>
          <p:nvPr>
            <p:custDataLst>
              <p:tags r:id="rId1"/>
            </p:custDataLst>
            <p:extLst>
              <p:ext uri="{D42A27DB-BD31-4B8C-83A1-F6EECF244321}">
                <p14:modId xmlns:p14="http://schemas.microsoft.com/office/powerpoint/2010/main" val="1632447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5FC14056-3291-216C-B428-AFA1A2516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de-CH" b="0" i="0" u="none" baseline="0"/>
              <a:t>Einführung in den Workshop</a:t>
            </a:r>
            <a:endParaRPr lang="de-CH" b="0" i="0" u="none" baseline="0" dirty="0"/>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p:txBody>
          <a:bodyPr/>
          <a:lstStyle/>
          <a:p>
            <a:pPr algn="l"/>
            <a:r>
              <a:rPr lang="de-CH" sz="1600" b="1" i="0" u="none" baseline="0" dirty="0"/>
              <a:t>Wie funktioniert dieser Workshop?</a:t>
            </a:r>
          </a:p>
          <a:p>
            <a:pPr lvl="1" algn="l">
              <a:buFont typeface="Arial" panose="020B0604020202020204" pitchFamily="34" charset="0"/>
              <a:buChar char="•"/>
            </a:pPr>
            <a:r>
              <a:rPr lang="de-CH" sz="1600" b="0" i="0" u="none" baseline="0" dirty="0"/>
              <a:t>Die folgenden Folien können als Workshop-Vorlage verwendet werden, um einen Konsens darüber herzustellen, wie Sie und Ihr Team die Arbeitswelt der Zukunft gestalten wollen.</a:t>
            </a:r>
          </a:p>
          <a:p>
            <a:pPr algn="l"/>
            <a:r>
              <a:rPr lang="de-CH" sz="1600" b="1" i="0" u="none" baseline="0" dirty="0"/>
              <a:t>Was war unser Konzept für den Workshop? </a:t>
            </a:r>
          </a:p>
          <a:p>
            <a:pPr lvl="1" algn="l">
              <a:buFont typeface="Arial" panose="020B0604020202020204" pitchFamily="34" charset="0"/>
              <a:buChar char="•"/>
            </a:pPr>
            <a:r>
              <a:rPr lang="de-CH" sz="1600" b="0" i="0" u="none" baseline="0" dirty="0"/>
              <a:t>Bei den Übungen und Fragen handelt es sich um Vorschläge, die Sie nach eigenem Ermessen an die Situation und die Bedürfnisse Ihres Teams anpassen können.</a:t>
            </a:r>
          </a:p>
          <a:p>
            <a:pPr lvl="1" algn="l">
              <a:buFont typeface="Arial" panose="020B0604020202020204" pitchFamily="34" charset="0"/>
              <a:buChar char="•"/>
            </a:pPr>
            <a:r>
              <a:rPr lang="de-CH" sz="1600" b="0" i="0" u="none" baseline="0" dirty="0"/>
              <a:t>Das Konzept basiert auf Interaktion und offenem Dialog/Diskussion innerhalb Ihres Teams (im Gegensatz zu einem rein informativen Ansatz).</a:t>
            </a:r>
          </a:p>
          <a:p>
            <a:pPr algn="l"/>
            <a:r>
              <a:rPr lang="de-CH" sz="1600" b="1" i="0" u="none" baseline="0" dirty="0"/>
              <a:t>Wie ist der Workshop aufgebaut?</a:t>
            </a:r>
          </a:p>
          <a:p>
            <a:pPr lvl="1">
              <a:buFont typeface="Arial" panose="020B0604020202020204" pitchFamily="34" charset="0"/>
              <a:buChar char="•"/>
            </a:pPr>
            <a:r>
              <a:rPr lang="de-CH" sz="1600" b="0" i="0" u="none" baseline="0" dirty="0"/>
              <a:t>Sie finden hier Folien, die Sie direkt in Ihrem eigenen Workshop verwenden (und bei Bedarf anpassen) können, sowie zusätzliche Hintergrundinformationen. Die Hintergrundinformationen sind in der oberen rechten Ecke der Folie in grüner Farbe markiert, so wie auf dieser Folie. </a:t>
            </a: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822BDD61-6F96-40DB-88AD-64627E06151E}" type="datetime1">
              <a:rPr lang="de-CH" smtClean="0"/>
              <a:t>29.02.2024</a:t>
            </a:fld>
            <a:endParaRPr lang="de-CH"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de-CH" smtClean="0"/>
              <a:pPr algn="r"/>
              <a:t>2</a:t>
            </a:fld>
            <a:endParaRPr lang="de-CH" noProof="0" dirty="0"/>
          </a:p>
        </p:txBody>
      </p:sp>
      <p:sp>
        <p:nvSpPr>
          <p:cNvPr id="7" name="Rechteck 6">
            <a:extLst>
              <a:ext uri="{FF2B5EF4-FFF2-40B4-BE49-F238E27FC236}">
                <a16:creationId xmlns:a16="http://schemas.microsoft.com/office/drawing/2014/main" id="{E00086F2-3B9A-4050-BCCD-632B815B626F}"/>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26317410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0F68F1-68CA-ADEE-CF64-C1974CB68317}"/>
              </a:ext>
            </a:extLst>
          </p:cNvPr>
          <p:cNvGraphicFramePr>
            <a:graphicFrameLocks noChangeAspect="1"/>
          </p:cNvGraphicFramePr>
          <p:nvPr>
            <p:custDataLst>
              <p:tags r:id="rId1"/>
            </p:custDataLst>
            <p:extLst>
              <p:ext uri="{D42A27DB-BD31-4B8C-83A1-F6EECF244321}">
                <p14:modId xmlns:p14="http://schemas.microsoft.com/office/powerpoint/2010/main" val="220692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790F68F1-68CA-ADEE-CF64-C1974CB683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dirty="0"/>
              <a:t>Umgang mit extremen Einstellungen</a:t>
            </a:r>
            <a:endParaRPr lang="de-CH" b="0" i="0" u="none" baseline="0" dirty="0"/>
          </a:p>
        </p:txBody>
      </p:sp>
      <p:sp>
        <p:nvSpPr>
          <p:cNvPr id="3" name="Inhaltsplatzhalter 2"/>
          <p:cNvSpPr>
            <a:spLocks noGrp="1"/>
          </p:cNvSpPr>
          <p:nvPr>
            <p:ph idx="1"/>
          </p:nvPr>
        </p:nvSpPr>
        <p:spPr>
          <a:xfrm>
            <a:off x="731837" y="1419340"/>
            <a:ext cx="10728326" cy="5289861"/>
          </a:xfrm>
        </p:spPr>
        <p:txBody>
          <a:bodyPr vert="horz" lIns="0" tIns="0" rIns="0" bIns="0" rtlCol="0" anchor="t">
            <a:noAutofit/>
          </a:bodyPr>
          <a:lstStyle/>
          <a:p>
            <a:pPr marL="0" indent="0" fontAlgn="base">
              <a:buNone/>
            </a:pPr>
            <a:r>
              <a:rPr lang="de-CH" sz="1600" dirty="0"/>
              <a:t>Unter Umständen werden Sie in der Diskussion mit Einstellungen, Ansichten und Bedürfnissen konfrontiert, mit denen Sie nicht gerechnet haben. Um dann nicht unüberlegt zu sprechen und zu handeln, ist es wichtig, sich gedanklich sowohl auf einige Diskussionspunkte vorzubereiten als auch die eigenen Einstellungen und potenziellen Reaktionen zu reflektieren. So legen Sie die Basis für einen gelingenden Dialog und eine Lösung, die für alle tragfähig ist. Im Folgenden möchten wir Ihnen Beispiele geben. </a:t>
            </a:r>
            <a:endParaRPr lang="de-CH" sz="1600" dirty="0">
              <a:cs typeface="Arial"/>
            </a:endParaRPr>
          </a:p>
          <a:p>
            <a:pPr marL="0" indent="0" algn="l" rtl="0" fontAlgn="base">
              <a:buNone/>
            </a:pPr>
            <a:r>
              <a:rPr lang="de-CH" sz="1600" dirty="0"/>
              <a:t>Eine Person in Ihrem Team sagt, sie wolle zukünftig zu 100% im HO arbeiten </a:t>
            </a:r>
            <a:r>
              <a:rPr lang="de-CH" sz="1600" dirty="0">
                <a:sym typeface="Wingdings" panose="05000000000000000000" pitchFamily="2" charset="2"/>
              </a:rPr>
              <a:t> </a:t>
            </a:r>
            <a:r>
              <a:rPr lang="de-CH" sz="1600" dirty="0"/>
              <a:t>Wie könnte ich damit umgehen? </a:t>
            </a:r>
            <a:br>
              <a:rPr lang="de-CH" sz="1600" dirty="0"/>
            </a:br>
            <a:r>
              <a:rPr lang="de-CH" sz="1600" dirty="0"/>
              <a:t>Anstatt direkt zu Antworten (ja oder nein), schadet es nicht, zuerst ein paar Fragen zu stellen:</a:t>
            </a:r>
            <a:endParaRPr lang="de-CH" sz="1600" dirty="0">
              <a:cs typeface="Arial"/>
            </a:endParaRPr>
          </a:p>
          <a:p>
            <a:pPr lvl="1" fontAlgn="base">
              <a:buFont typeface="Arial" panose="020B0604020202020204" pitchFamily="34" charset="0"/>
              <a:buChar char="•"/>
            </a:pPr>
            <a:r>
              <a:rPr lang="de-CH" sz="1600" dirty="0"/>
              <a:t>Warum möchtest Du das? Was ist Dein Bedürfnis / was sind Deine Interessen dahinter? Erzähl mal! (Verstehen) </a:t>
            </a:r>
            <a:endParaRPr lang="de-CH" sz="1600" dirty="0">
              <a:cs typeface="Arial"/>
            </a:endParaRPr>
          </a:p>
          <a:p>
            <a:pPr lvl="1" fontAlgn="base">
              <a:buFont typeface="Arial" panose="020B0604020202020204" pitchFamily="34" charset="0"/>
              <a:buChar char="•"/>
            </a:pPr>
            <a:r>
              <a:rPr lang="de-CH" sz="1600" dirty="0"/>
              <a:t>Kannst Du auch meine Bedürfnisse und die des Teams verstehen? (Verständnis fördern) </a:t>
            </a:r>
            <a:endParaRPr lang="de-CH" sz="1600" dirty="0">
              <a:cs typeface="Arial"/>
            </a:endParaRPr>
          </a:p>
          <a:p>
            <a:pPr lvl="1" fontAlgn="base">
              <a:buFont typeface="Arial" panose="020B0604020202020204" pitchFamily="34" charset="0"/>
              <a:buChar char="•"/>
            </a:pPr>
            <a:r>
              <a:rPr lang="de-CH" sz="1600" dirty="0"/>
              <a:t>Was müsste für Dich gegeben sein, um Dich mehr in die gemeinsam angestrebte Richtung zu bewegen? (Aushandeln) </a:t>
            </a:r>
            <a:endParaRPr lang="de-CH" sz="1600" dirty="0">
              <a:cs typeface="Arial"/>
            </a:endParaRPr>
          </a:p>
          <a:p>
            <a:pPr marL="0" indent="0" fontAlgn="base">
              <a:buNone/>
            </a:pPr>
            <a:r>
              <a:rPr lang="de-CH" sz="1600" dirty="0"/>
              <a:t>Die ETH gibt aktuell keine festen Rahmenbedingungen vor – so existiert beispielsweise </a:t>
            </a:r>
            <a:r>
              <a:rPr lang="de-CH" sz="1600" i="1" dirty="0"/>
              <a:t>kein Anrecht</a:t>
            </a:r>
            <a:r>
              <a:rPr lang="de-CH" sz="1600" dirty="0"/>
              <a:t> auf Homeoffice. Gleichwohl lässt sich nicht mehr ignorieren, dass gewisse Bedürfnisse bei den Mitarbeitenden existieren – das zeigen entsprechenden Untersuchungen und Auswertungen (siehe nächste Seiten). Inzwischen ist die Ausgestaltung der flexiblen und mobilen Arbeitsformen sogar mitunter entscheidend für Bewerberinnen und Bewerber. Wir empfehlen Ihnen als vorgesetzter Person daher dringend (sofern betriebliche Bedürfnisse dem nicht im Weg stehen), Ihren Leuten eine gewisse Flexibilität einzuräumen und ihre Bedürfnisse ernst zu nehmen.</a:t>
            </a:r>
            <a:endParaRPr lang="de-CH" sz="1600" dirty="0">
              <a:cs typeface="Arial"/>
            </a:endParaRPr>
          </a:p>
        </p:txBody>
      </p:sp>
      <p:sp>
        <p:nvSpPr>
          <p:cNvPr id="4" name="Datumsplatzhalter 3"/>
          <p:cNvSpPr>
            <a:spLocks noGrp="1"/>
          </p:cNvSpPr>
          <p:nvPr>
            <p:ph type="dt" sz="half" idx="10"/>
          </p:nvPr>
        </p:nvSpPr>
        <p:spPr/>
        <p:txBody>
          <a:bodyPr/>
          <a:lstStyle/>
          <a:p>
            <a:pPr algn="l"/>
            <a:fld id="{18E3BE14-066F-45EC-B762-24E20A42A393}"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de-CH" b="0" i="0" u="none" baseline="0" dirty="0">
                <a:latin typeface="+mn-lt"/>
                <a:ea typeface="+mn-lt"/>
                <a:cs typeface="+mn-lt"/>
              </a:rPr>
              <a:t>Einen Teamkonsens entwickeln und die Arbeitswelt der Zukunft </a:t>
            </a:r>
            <a:r>
              <a:rPr lang="de-CH" b="0" i="0" u="none" baseline="0">
                <a:latin typeface="+mn-lt"/>
                <a:ea typeface="+mn-lt"/>
                <a:cs typeface="+mn-lt"/>
              </a:rPr>
              <a:t>gemeinsam gestalten</a:t>
            </a:r>
            <a:endParaRPr lang="de-CH"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0</a:t>
            </a:fld>
            <a:endParaRPr lang="de-CH"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32133145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330197E-17A9-F408-EFC3-A8EBC43E8B0A}"/>
              </a:ext>
            </a:extLst>
          </p:cNvPr>
          <p:cNvGraphicFramePr>
            <a:graphicFrameLocks noChangeAspect="1"/>
          </p:cNvGraphicFramePr>
          <p:nvPr>
            <p:custDataLst>
              <p:tags r:id="rId1"/>
            </p:custDataLst>
            <p:extLst>
              <p:ext uri="{D42A27DB-BD31-4B8C-83A1-F6EECF244321}">
                <p14:modId xmlns:p14="http://schemas.microsoft.com/office/powerpoint/2010/main" val="274978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6330197E-17A9-F408-EFC3-A8EBC43E8B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dirty="0"/>
              <a:t>Umgang mit extremen Einstellungen – Selbstreflexion</a:t>
            </a:r>
            <a:endParaRPr lang="de-CH" b="0" i="0" u="none" baseline="0" dirty="0"/>
          </a:p>
        </p:txBody>
      </p:sp>
      <p:sp>
        <p:nvSpPr>
          <p:cNvPr id="3" name="Inhaltsplatzhalter 2"/>
          <p:cNvSpPr>
            <a:spLocks noGrp="1"/>
          </p:cNvSpPr>
          <p:nvPr>
            <p:ph idx="1"/>
          </p:nvPr>
        </p:nvSpPr>
        <p:spPr>
          <a:xfrm>
            <a:off x="727825" y="1412874"/>
            <a:ext cx="10732338" cy="5037337"/>
          </a:xfrm>
        </p:spPr>
        <p:txBody>
          <a:bodyPr vert="horz" lIns="0" tIns="0" rIns="0" bIns="0" rtlCol="0" anchor="t">
            <a:noAutofit/>
          </a:bodyPr>
          <a:lstStyle/>
          <a:p>
            <a:pPr marL="0" indent="0" fontAlgn="base">
              <a:buNone/>
            </a:pPr>
            <a:r>
              <a:rPr lang="de-CH" sz="1600" dirty="0"/>
              <a:t>Sollten Sie feststellen, dass Sie Mühe damit haben, diese Bedürfnisse Ihrer Mitarbeitenden anzuerkennen oder ihnen diesbezüglich entgegenzukommen, möchten wir Sie anhand einiger Fragen dazu anregen, zu reflektieren, woher Ihre Vorbehalte kommen. Diese können auch Anhaltspunkte für Gespräche mit einzelnen Personen sein, um zu einer gemeinsamen Lösung zu kommen: </a:t>
            </a:r>
            <a:endParaRPr lang="de-CH" sz="1600" dirty="0">
              <a:cs typeface="Arial"/>
            </a:endParaRPr>
          </a:p>
          <a:p>
            <a:pPr lvl="1">
              <a:buFont typeface="Arial,Sans-Serif" panose="020B0604020202020204" pitchFamily="34" charset="0"/>
              <a:buChar char="•"/>
            </a:pPr>
            <a:r>
              <a:rPr lang="de-CH" sz="1600" dirty="0"/>
              <a:t>Warum habe ich Mühe damit? Womit genau? Bei welchen Punkten merke ich, dass ich besonders stark oder schnell «dicht mache»? Woran könnte das liegen? Was geht dann in mir vor? </a:t>
            </a:r>
            <a:endParaRPr lang="de-CH" sz="1600" dirty="0">
              <a:cs typeface="Arial"/>
            </a:endParaRPr>
          </a:p>
          <a:p>
            <a:pPr lvl="1">
              <a:buFont typeface="Arial,Sans-Serif" panose="020B0604020202020204" pitchFamily="34" charset="0"/>
              <a:buChar char="•"/>
            </a:pPr>
            <a:r>
              <a:rPr lang="de-CH" sz="1600" dirty="0"/>
              <a:t>Was befürchte ich? Ist das realistisch? Wie könnte ich das prüfen? Was könnte ich tun, um meine Befürchtungen abzumildern? </a:t>
            </a:r>
            <a:endParaRPr lang="de-CH" sz="1600" dirty="0">
              <a:cs typeface="Arial"/>
            </a:endParaRPr>
          </a:p>
          <a:p>
            <a:pPr lvl="1">
              <a:buFont typeface="Arial,Sans-Serif" panose="020B0604020202020204" pitchFamily="34" charset="0"/>
              <a:buChar char="•"/>
            </a:pPr>
            <a:r>
              <a:rPr lang="de-CH" sz="1600" dirty="0"/>
              <a:t>Wenn es nicht kategorisch </a:t>
            </a:r>
            <a:r>
              <a:rPr lang="de-CH" sz="1600" dirty="0">
                <a:ea typeface="+mn-lt"/>
                <a:cs typeface="+mn-lt"/>
              </a:rPr>
              <a:t>«</a:t>
            </a:r>
            <a:r>
              <a:rPr lang="de-CH" sz="1600" dirty="0"/>
              <a:t>ja</a:t>
            </a:r>
            <a:r>
              <a:rPr lang="de-CH" sz="1600" dirty="0">
                <a:ea typeface="+mn-lt"/>
                <a:cs typeface="+mn-lt"/>
              </a:rPr>
              <a:t>»</a:t>
            </a:r>
            <a:r>
              <a:rPr lang="de-CH" sz="1600" dirty="0"/>
              <a:t> oder «nein</a:t>
            </a:r>
            <a:r>
              <a:rPr lang="de-CH" sz="1600" dirty="0">
                <a:ea typeface="+mn-lt"/>
                <a:cs typeface="+mn-lt"/>
              </a:rPr>
              <a:t>»</a:t>
            </a:r>
            <a:r>
              <a:rPr lang="de-CH" sz="1600" dirty="0"/>
              <a:t> (1 oder 0) ist, wie könnte ein Weg dazwischen aussehen? Z. B. Was müssen meine Leute mir wiederum «geben</a:t>
            </a:r>
            <a:r>
              <a:rPr lang="de-CH" sz="1600" dirty="0">
                <a:ea typeface="+mn-lt"/>
                <a:cs typeface="+mn-lt"/>
              </a:rPr>
              <a:t>»</a:t>
            </a:r>
            <a:r>
              <a:rPr lang="de-CH" sz="1600" dirty="0"/>
              <a:t>, wenn ich mich darauf einlasse? </a:t>
            </a:r>
            <a:endParaRPr lang="de-CH" sz="1600" dirty="0">
              <a:cs typeface="Arial"/>
            </a:endParaRPr>
          </a:p>
          <a:p>
            <a:pPr lvl="1">
              <a:buFont typeface="Arial,Sans-Serif" panose="020B0604020202020204" pitchFamily="34" charset="0"/>
              <a:buChar char="•"/>
            </a:pPr>
            <a:r>
              <a:rPr lang="de-CH" sz="1600" dirty="0"/>
              <a:t>An welche Abmachungen müssen sie sich halten? </a:t>
            </a:r>
            <a:endParaRPr lang="de-CH" sz="1600" dirty="0">
              <a:cs typeface="Arial"/>
            </a:endParaRPr>
          </a:p>
          <a:p>
            <a:pPr lvl="1">
              <a:buFont typeface="Arial,Sans-Serif" panose="020B0604020202020204" pitchFamily="34" charset="0"/>
              <a:buChar char="•"/>
            </a:pPr>
            <a:r>
              <a:rPr lang="de-CH" sz="1600" dirty="0"/>
              <a:t>Können wir ein Experiment vereinbaren, eine Testphase etc.? </a:t>
            </a:r>
            <a:endParaRPr lang="de-CH" sz="1600" dirty="0">
              <a:cs typeface="Arial"/>
            </a:endParaRPr>
          </a:p>
          <a:p>
            <a:pPr marL="0" indent="0">
              <a:buNone/>
            </a:pPr>
            <a:r>
              <a:rPr lang="de-CH" sz="1600" dirty="0">
                <a:cs typeface="Arial"/>
              </a:rPr>
              <a:t>Achten Sie darauf, dass Sie im Workshop nicht zu viel Zeit investieren für die «Extrem-Fälle</a:t>
            </a:r>
            <a:r>
              <a:rPr lang="de-CH" sz="1600" dirty="0">
                <a:ea typeface="+mn-lt"/>
                <a:cs typeface="+mn-lt"/>
              </a:rPr>
              <a:t>»</a:t>
            </a:r>
            <a:r>
              <a:rPr lang="de-CH" sz="1600" dirty="0">
                <a:cs typeface="Arial"/>
              </a:rPr>
              <a:t>, sondern bieten Sie ggf. 1:1-Gespräche im Nachhinein an. Damit verschaffen Sie sich Spielraum und bewahren Sie sich selbst und die anderen vor «Schnellschüssen», die schwierig zu korrigieren sind. </a:t>
            </a:r>
          </a:p>
          <a:p>
            <a:pPr marL="0" indent="0">
              <a:buNone/>
            </a:pPr>
            <a:r>
              <a:rPr lang="de-CH" sz="1600" b="1" dirty="0">
                <a:cs typeface="Arial"/>
              </a:rPr>
              <a:t>Wichtig ist vor allem eins</a:t>
            </a:r>
            <a:r>
              <a:rPr lang="de-CH" sz="1600" dirty="0">
                <a:cs typeface="Arial"/>
              </a:rPr>
              <a:t>: Die Bedürfnisse verschwinden nicht dadurch, dass wir nicht über sie sprechen. Wir empfehlen, nach Lösungen zu suchen, bei denen alle zumindest einen Teil ihrer Interessen wiederfinden.</a:t>
            </a:r>
          </a:p>
        </p:txBody>
      </p:sp>
      <p:sp>
        <p:nvSpPr>
          <p:cNvPr id="4" name="Datumsplatzhalter 3"/>
          <p:cNvSpPr>
            <a:spLocks noGrp="1"/>
          </p:cNvSpPr>
          <p:nvPr>
            <p:ph type="dt" sz="half" idx="10"/>
          </p:nvPr>
        </p:nvSpPr>
        <p:spPr/>
        <p:txBody>
          <a:bodyPr/>
          <a:lstStyle/>
          <a:p>
            <a:pPr algn="l"/>
            <a:fld id="{1E148387-E4F2-40A6-A60A-6E849E9D59DD}"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de-CH" b="0" i="0" u="none" baseline="0" dirty="0">
                <a:latin typeface="+mn-lt"/>
                <a:ea typeface="+mn-lt"/>
                <a:cs typeface="+mn-lt"/>
              </a:rPr>
              <a:t>Einen Teamkonsens entwickeln und die Arbeitswelt der Zukunft </a:t>
            </a:r>
            <a:r>
              <a:rPr lang="de-CH" b="0" i="0" u="none" baseline="0">
                <a:latin typeface="+mn-lt"/>
                <a:ea typeface="+mn-lt"/>
                <a:cs typeface="+mn-lt"/>
              </a:rPr>
              <a:t>gemeinsam gestalten</a:t>
            </a:r>
            <a:endParaRPr lang="de-CH"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1</a:t>
            </a:fld>
            <a:endParaRPr lang="de-CH"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687061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3205135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E022F1E4-40C3-4C95-99B4-EF2AB8159D19}"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2</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738404659"/>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a:effectLst/>
                        </a:rPr>
                        <a:t>2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kern="1200" baseline="0">
                          <a:effectLst/>
                        </a:rPr>
                        <a:t>Check-in</a:t>
                      </a:r>
                      <a:endParaRPr lang="de-CH" sz="1600" b="0" i="0" u="none" kern="1200" baseline="0" dirty="0">
                        <a:effectLst/>
                      </a:endParaRP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baseline="0" dirty="0"/>
                        <a:t>Zusammenarbeit</a:t>
                      </a:r>
                      <a:endParaRPr lang="de-CH" sz="1600" b="0" i="0" u="none" kern="1200" baseline="0" dirty="0">
                        <a:effectLst/>
                      </a:endParaRP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solidFill>
                            <a:schemeClr val="bg1"/>
                          </a:solidFill>
                          <a:effectLst/>
                        </a:rPr>
                        <a:t>30 Min.</a:t>
                      </a:r>
                      <a:endParaRPr lang="de-CH" sz="1600" noProof="0" dirty="0">
                        <a:solidFill>
                          <a:schemeClr val="bg1"/>
                        </a:solidFill>
                        <a:effectLst/>
                      </a:endParaRPr>
                    </a:p>
                  </a:txBody>
                  <a:tcPr marL="72000" marR="0" marT="0" marB="0" anchor="ctr">
                    <a:solidFill>
                      <a:schemeClr val="accent2"/>
                    </a:solidFill>
                  </a:tcPr>
                </a:tc>
                <a:tc>
                  <a:txBody>
                    <a:bodyPr/>
                    <a:lstStyle/>
                    <a:p>
                      <a:pPr marL="0" indent="0" algn="l" rtl="0" eaLnBrk="1" latinLnBrk="0" hangingPunct="1">
                        <a:spcBef>
                          <a:spcPts val="0"/>
                        </a:spcBef>
                        <a:spcAft>
                          <a:spcPts val="0"/>
                        </a:spcAft>
                      </a:pPr>
                      <a:r>
                        <a:rPr lang="de-CH" sz="1600" b="0" i="0" u="none" kern="1200" baseline="0" dirty="0">
                          <a:solidFill>
                            <a:schemeClr val="bg1"/>
                          </a:solidFill>
                          <a:effectLst/>
                        </a:rPr>
                        <a:t>Zielerreichung</a:t>
                      </a:r>
                    </a:p>
                  </a:txBody>
                  <a:tcPr marL="72000" marR="0" marT="0" marB="0" anchor="ctr">
                    <a:solidFill>
                      <a:schemeClr val="accent2"/>
                    </a:solidFill>
                  </a:tcP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usammenhalt und Wohlbefinden im Team</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effectLst/>
                        </a:rPr>
                        <a:t>20 Min.</a:t>
                      </a:r>
                      <a:endParaRPr lang="de-CH" sz="1600" noProof="0" dirty="0"/>
                    </a:p>
                  </a:txBody>
                  <a:tcPr marL="72000" marR="0" marT="0" marB="0" anchor="ctr"/>
                </a:tc>
                <a:tc>
                  <a:txBody>
                    <a:bodyPr/>
                    <a:lstStyle/>
                    <a:p>
                      <a:pPr marL="0" algn="l" rtl="0" eaLnBrk="1" latinLnBrk="0" hangingPunct="1">
                        <a:spcBef>
                          <a:spcPts val="0"/>
                        </a:spcBef>
                        <a:spcAft>
                          <a:spcPts val="0"/>
                        </a:spcAft>
                      </a:pPr>
                      <a:r>
                        <a:rPr lang="de-CH" sz="1600" b="0" i="0" u="none" kern="1200" baseline="0" dirty="0">
                          <a:effectLst/>
                        </a:rPr>
                        <a:t>Check-out &amp; Verabschiedung</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119579210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F86D724-693B-0D9D-47EA-2D497893D3B1}"/>
              </a:ext>
            </a:extLst>
          </p:cNvPr>
          <p:cNvGraphicFramePr>
            <a:graphicFrameLocks noChangeAspect="1"/>
          </p:cNvGraphicFramePr>
          <p:nvPr>
            <p:custDataLst>
              <p:tags r:id="rId1"/>
            </p:custDataLst>
            <p:extLst>
              <p:ext uri="{D42A27DB-BD31-4B8C-83A1-F6EECF244321}">
                <p14:modId xmlns:p14="http://schemas.microsoft.com/office/powerpoint/2010/main" val="321697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FF86D724-693B-0D9D-47EA-2D497893D3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90BD18C-4CB3-58F7-B41A-F4746B7DAA6D}"/>
              </a:ext>
            </a:extLst>
          </p:cNvPr>
          <p:cNvSpPr>
            <a:spLocks noGrp="1"/>
          </p:cNvSpPr>
          <p:nvPr>
            <p:ph type="title"/>
          </p:nvPr>
        </p:nvSpPr>
        <p:spPr/>
        <p:txBody>
          <a:bodyPr vert="horz"/>
          <a:lstStyle/>
          <a:p>
            <a:r>
              <a:rPr lang="de-CH" sz="2400" b="0" i="0" u="none" kern="1200" baseline="0" dirty="0">
                <a:effectLst/>
              </a:rPr>
              <a:t>Zielerreichung - Rating</a:t>
            </a:r>
            <a:endParaRPr lang="de-CH" b="1" dirty="0"/>
          </a:p>
        </p:txBody>
      </p:sp>
      <p:sp>
        <p:nvSpPr>
          <p:cNvPr id="3" name="Content Placeholder 2">
            <a:extLst>
              <a:ext uri="{FF2B5EF4-FFF2-40B4-BE49-F238E27FC236}">
                <a16:creationId xmlns:a16="http://schemas.microsoft.com/office/drawing/2014/main" id="{74ABCEC1-985B-1C66-2D33-43D74A38B600}"/>
              </a:ext>
            </a:extLst>
          </p:cNvPr>
          <p:cNvSpPr>
            <a:spLocks noGrp="1"/>
          </p:cNvSpPr>
          <p:nvPr>
            <p:ph idx="1"/>
          </p:nvPr>
        </p:nvSpPr>
        <p:spPr>
          <a:xfrm>
            <a:off x="731836" y="993775"/>
            <a:ext cx="10728325" cy="4680000"/>
          </a:xfrm>
        </p:spPr>
        <p:txBody>
          <a:bodyPr/>
          <a:lstStyle/>
          <a:p>
            <a:pPr marL="0" lvl="0" indent="0" algn="l">
              <a:buNone/>
            </a:pPr>
            <a:r>
              <a:rPr lang="de-CH" dirty="0">
                <a:solidFill>
                  <a:schemeClr val="tx1"/>
                </a:solidFill>
              </a:rPr>
              <a:t>Jedes Teammitglied wird gebeten, die Aussagen auf der nächsten Folie von 1-5 zu bewerten, indem es Aufkleber auf den entsprechenden Wert klebt, wobei 1 für "stimme überhaupt nicht zu" und 5 für "stimme voll zu" steht (5 Minuten).</a:t>
            </a:r>
            <a:endParaRPr lang="de-CH" dirty="0"/>
          </a:p>
        </p:txBody>
      </p:sp>
      <p:sp>
        <p:nvSpPr>
          <p:cNvPr id="4" name="Date Placeholder 3">
            <a:extLst>
              <a:ext uri="{FF2B5EF4-FFF2-40B4-BE49-F238E27FC236}">
                <a16:creationId xmlns:a16="http://schemas.microsoft.com/office/drawing/2014/main" id="{9670A952-0139-987A-EC8F-4073EDA64600}"/>
              </a:ext>
            </a:extLst>
          </p:cNvPr>
          <p:cNvSpPr>
            <a:spLocks noGrp="1"/>
          </p:cNvSpPr>
          <p:nvPr>
            <p:ph type="dt" sz="half" idx="10"/>
          </p:nvPr>
        </p:nvSpPr>
        <p:spPr/>
        <p:txBody>
          <a:bodyPr/>
          <a:lstStyle/>
          <a:p>
            <a:fld id="{F59D28EE-073F-4BEF-B25C-8B3176D61BFE}" type="datetime1">
              <a:rPr lang="de-CH" smtClean="0"/>
              <a:t>29.02.2024</a:t>
            </a:fld>
            <a:endParaRPr lang="de-CH" dirty="0"/>
          </a:p>
        </p:txBody>
      </p:sp>
      <p:sp>
        <p:nvSpPr>
          <p:cNvPr id="5" name="Footer Placeholder 4">
            <a:extLst>
              <a:ext uri="{FF2B5EF4-FFF2-40B4-BE49-F238E27FC236}">
                <a16:creationId xmlns:a16="http://schemas.microsoft.com/office/drawing/2014/main" id="{E73758D5-CF6A-FFB7-8257-04B99498E9F0}"/>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Slide Number Placeholder 5">
            <a:extLst>
              <a:ext uri="{FF2B5EF4-FFF2-40B4-BE49-F238E27FC236}">
                <a16:creationId xmlns:a16="http://schemas.microsoft.com/office/drawing/2014/main" id="{6EFA5949-A927-7AC7-C6ED-10D752493660}"/>
              </a:ext>
            </a:extLst>
          </p:cNvPr>
          <p:cNvSpPr>
            <a:spLocks noGrp="1"/>
          </p:cNvSpPr>
          <p:nvPr>
            <p:ph type="sldNum" sz="quarter" idx="12"/>
          </p:nvPr>
        </p:nvSpPr>
        <p:spPr/>
        <p:txBody>
          <a:bodyPr/>
          <a:lstStyle/>
          <a:p>
            <a:fld id="{5ACA52AF-F19D-405C-AD5F-7D94B96A5CC3}" type="slidenum">
              <a:rPr lang="de-CH" smtClean="0"/>
              <a:pPr/>
              <a:t>23</a:t>
            </a:fld>
            <a:endParaRPr lang="de-CH" dirty="0"/>
          </a:p>
        </p:txBody>
      </p:sp>
      <p:pic>
        <p:nvPicPr>
          <p:cNvPr id="9" name="Picture 8" descr="A group of ornaments with different faces&#10;&#10;Description automatically generated">
            <a:extLst>
              <a:ext uri="{FF2B5EF4-FFF2-40B4-BE49-F238E27FC236}">
                <a16:creationId xmlns:a16="http://schemas.microsoft.com/office/drawing/2014/main" id="{B6B98562-4770-4F0F-3571-C6BF8AAE4F13}"/>
              </a:ext>
            </a:extLst>
          </p:cNvPr>
          <p:cNvPicPr>
            <a:picLocks noChangeAspect="1"/>
          </p:cNvPicPr>
          <p:nvPr/>
        </p:nvPicPr>
        <p:blipFill>
          <a:blip r:embed="rId6"/>
          <a:stretch>
            <a:fillRect/>
          </a:stretch>
        </p:blipFill>
        <p:spPr>
          <a:xfrm>
            <a:off x="1595824" y="2264638"/>
            <a:ext cx="9000348" cy="3599587"/>
          </a:xfrm>
          <a:prstGeom prst="rect">
            <a:avLst/>
          </a:prstGeom>
        </p:spPr>
      </p:pic>
      <p:sp>
        <p:nvSpPr>
          <p:cNvPr id="10" name="Textfeld 9">
            <a:extLst>
              <a:ext uri="{FF2B5EF4-FFF2-40B4-BE49-F238E27FC236}">
                <a16:creationId xmlns:a16="http://schemas.microsoft.com/office/drawing/2014/main" id="{EE1D506E-5D02-8A5C-4A4B-3A6A063A5333}"/>
              </a:ext>
            </a:extLst>
          </p:cNvPr>
          <p:cNvSpPr txBox="1"/>
          <p:nvPr/>
        </p:nvSpPr>
        <p:spPr>
          <a:xfrm>
            <a:off x="2423277" y="5448886"/>
            <a:ext cx="475332" cy="492443"/>
          </a:xfrm>
          <a:prstGeom prst="rect">
            <a:avLst/>
          </a:prstGeom>
          <a:noFill/>
        </p:spPr>
        <p:txBody>
          <a:bodyPr wrap="square">
            <a:spAutoFit/>
          </a:bodyPr>
          <a:lstStyle/>
          <a:p>
            <a:pPr algn="ctr"/>
            <a:r>
              <a:rPr lang="de-CH" sz="2600" i="0" u="none" baseline="0">
                <a:solidFill>
                  <a:schemeClr val="tx1"/>
                </a:solidFill>
              </a:rPr>
              <a:t>1</a:t>
            </a:r>
            <a:endParaRPr lang="de-CH" sz="2600" dirty="0"/>
          </a:p>
        </p:txBody>
      </p:sp>
      <p:sp>
        <p:nvSpPr>
          <p:cNvPr id="11" name="Textfeld 10">
            <a:extLst>
              <a:ext uri="{FF2B5EF4-FFF2-40B4-BE49-F238E27FC236}">
                <a16:creationId xmlns:a16="http://schemas.microsoft.com/office/drawing/2014/main" id="{440EE002-4B69-87FC-507F-89631202D4D4}"/>
              </a:ext>
            </a:extLst>
          </p:cNvPr>
          <p:cNvSpPr txBox="1"/>
          <p:nvPr/>
        </p:nvSpPr>
        <p:spPr>
          <a:xfrm>
            <a:off x="9283766" y="5448885"/>
            <a:ext cx="475332" cy="492443"/>
          </a:xfrm>
          <a:prstGeom prst="rect">
            <a:avLst/>
          </a:prstGeom>
          <a:noFill/>
        </p:spPr>
        <p:txBody>
          <a:bodyPr wrap="square">
            <a:spAutoFit/>
          </a:bodyPr>
          <a:lstStyle/>
          <a:p>
            <a:pPr algn="ctr"/>
            <a:r>
              <a:rPr lang="de-CH" sz="2600" i="0" u="none" baseline="0">
                <a:solidFill>
                  <a:schemeClr val="tx1"/>
                </a:solidFill>
              </a:rPr>
              <a:t>5</a:t>
            </a:r>
            <a:endParaRPr lang="de-CH" sz="2600" dirty="0"/>
          </a:p>
        </p:txBody>
      </p:sp>
      <p:sp>
        <p:nvSpPr>
          <p:cNvPr id="7" name="Rechteck 10">
            <a:extLst>
              <a:ext uri="{FF2B5EF4-FFF2-40B4-BE49-F238E27FC236}">
                <a16:creationId xmlns:a16="http://schemas.microsoft.com/office/drawing/2014/main" id="{A54DB2AE-D44F-EB40-0BE7-3390B8FBFE89}"/>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31911708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90F68F1-68CA-ADEE-CF64-C1974CB68317}"/>
              </a:ext>
            </a:extLst>
          </p:cNvPr>
          <p:cNvGraphicFramePr>
            <a:graphicFrameLocks noChangeAspect="1"/>
          </p:cNvGraphicFramePr>
          <p:nvPr>
            <p:custDataLst>
              <p:tags r:id="rId1"/>
            </p:custDataLst>
            <p:extLst>
              <p:ext uri="{D42A27DB-BD31-4B8C-83A1-F6EECF244321}">
                <p14:modId xmlns:p14="http://schemas.microsoft.com/office/powerpoint/2010/main" val="2868703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790F68F1-68CA-ADEE-CF64-C1974CB683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t>Anleitung zur Verwendung von </a:t>
            </a:r>
            <a:r>
              <a:rPr lang="de-CH" b="0" i="0" u="none" baseline="0" dirty="0" err="1"/>
              <a:t>Mentimeter</a:t>
            </a:r>
            <a:r>
              <a:rPr lang="de-CH" b="0" i="0" u="none" baseline="0" dirty="0"/>
              <a:t> für die Bewertung (optional)</a:t>
            </a:r>
          </a:p>
        </p:txBody>
      </p:sp>
      <p:sp>
        <p:nvSpPr>
          <p:cNvPr id="3" name="Inhaltsplatzhalter 2"/>
          <p:cNvSpPr>
            <a:spLocks noGrp="1"/>
          </p:cNvSpPr>
          <p:nvPr>
            <p:ph idx="1"/>
          </p:nvPr>
        </p:nvSpPr>
        <p:spPr>
          <a:xfrm>
            <a:off x="727825" y="1160350"/>
            <a:ext cx="10296041" cy="5289861"/>
          </a:xfrm>
        </p:spPr>
        <p:txBody>
          <a:bodyPr vert="horz" lIns="0" tIns="0" rIns="0" bIns="0" rtlCol="0" anchor="t">
            <a:noAutofit/>
          </a:bodyPr>
          <a:lstStyle/>
          <a:p>
            <a:pPr marL="0" indent="0" algn="l" fontAlgn="base">
              <a:buNone/>
            </a:pPr>
            <a:r>
              <a:rPr lang="de-CH" sz="1600" b="0" i="0" u="none" baseline="0" dirty="0" err="1"/>
              <a:t>Mentimeter</a:t>
            </a:r>
            <a:r>
              <a:rPr lang="de-CH" sz="1600" b="0" i="0" u="none" baseline="0" dirty="0"/>
              <a:t> ist ein interaktives Präsentations- und Umfragetool, das es Präsentatoren ermöglicht, ihr Publikum durch Live-Umfragen einzubeziehen.</a:t>
            </a:r>
          </a:p>
          <a:p>
            <a:pPr fontAlgn="base"/>
            <a:r>
              <a:rPr lang="de-CH" sz="1600" b="1" i="0" u="none" baseline="0" dirty="0"/>
              <a:t>Richten Sie Ihre </a:t>
            </a:r>
            <a:r>
              <a:rPr lang="de-CH" sz="1600" b="1" i="0" u="none" baseline="0" dirty="0" err="1"/>
              <a:t>Mentimeter</a:t>
            </a:r>
            <a:r>
              <a:rPr lang="de-CH" sz="1600" b="1" i="0" u="none" baseline="0" dirty="0"/>
              <a:t>-Präsentation ein: </a:t>
            </a:r>
            <a:r>
              <a:rPr lang="de-CH" sz="1600" b="0" i="0" u="none" baseline="0" dirty="0"/>
              <a:t>Melden Sie sich bei Ihrem </a:t>
            </a:r>
            <a:r>
              <a:rPr lang="de-CH" sz="1600" b="0" i="0" u="none" baseline="0" dirty="0" err="1"/>
              <a:t>Mentimeter</a:t>
            </a:r>
            <a:r>
              <a:rPr lang="de-CH" sz="1600" b="0" i="0" u="none" baseline="0" dirty="0"/>
              <a:t>-Konto an oder registrieren Sie sich, wenn Sie noch keins haben. </a:t>
            </a:r>
          </a:p>
          <a:p>
            <a:pPr fontAlgn="base"/>
            <a:r>
              <a:rPr lang="de-CH" sz="1600" b="1" i="0" u="none" baseline="0" dirty="0"/>
              <a:t>Fügen Sie Ihre Aussagen hinzu:</a:t>
            </a:r>
            <a:r>
              <a:rPr lang="de-CH" sz="1600" b="0" i="0" u="none" baseline="0" dirty="0"/>
              <a:t> Erstellen Sie in Ihrer </a:t>
            </a:r>
            <a:r>
              <a:rPr lang="de-CH" sz="1600" b="0" i="0" u="none" baseline="0" dirty="0" err="1"/>
              <a:t>Mentimeter</a:t>
            </a:r>
            <a:r>
              <a:rPr lang="de-CH" sz="1600" b="0" i="0" u="none" baseline="0" dirty="0"/>
              <a:t>-Präsentation eine Folie und fügen Sie jede Aussage hinzu, die Ihr Team bewerten soll.</a:t>
            </a:r>
          </a:p>
          <a:p>
            <a:pPr fontAlgn="base"/>
            <a:r>
              <a:rPr lang="de-CH" sz="1600" b="1" i="0" u="none" baseline="0" dirty="0"/>
              <a:t>Gestalten Sie Ihre Bewertungsskala: </a:t>
            </a:r>
            <a:r>
              <a:rPr lang="de-CH" sz="1600" b="0" i="0" u="none" baseline="0" dirty="0"/>
              <a:t>Fügen Sie auf jeder Folie die Aussage hinzu, die Sie bewerten möchten. Unter der Aussage erstellen Sie eine Skala von 1 bis 5, wobei 1 "Stimme überhaupt nicht zu" und 5 "Stimme voll und ganz zu" repräsentiert.</a:t>
            </a:r>
          </a:p>
          <a:p>
            <a:pPr fontAlgn="base"/>
            <a:r>
              <a:rPr lang="de-CH" sz="1600" b="1" i="0" u="none" baseline="0" dirty="0"/>
              <a:t>Starten Sie die Präsentation und teilen Sie den Präsentationslink: </a:t>
            </a:r>
            <a:r>
              <a:rPr lang="de-CH" sz="1600" b="0" i="0" u="none" baseline="0" dirty="0"/>
              <a:t>Teilen Sie den Link zu Ihrer </a:t>
            </a:r>
            <a:r>
              <a:rPr lang="de-CH" sz="1600" b="0" i="0" u="none" baseline="0" dirty="0" err="1"/>
              <a:t>Mentimeter</a:t>
            </a:r>
            <a:r>
              <a:rPr lang="de-CH" sz="1600" b="0" i="0" u="none" baseline="0" dirty="0"/>
              <a:t>-Präsentation mit Ihrem Team. Sie können auf ihren Geräten (Smartphones, Tablets, Laptops) auf die Präsentation zugreifen.</a:t>
            </a:r>
          </a:p>
          <a:p>
            <a:pPr fontAlgn="base"/>
            <a:r>
              <a:rPr lang="de-CH" sz="1600" b="1" i="0" u="none" baseline="0" dirty="0"/>
              <a:t>Bewerten Sie die Aussagen: </a:t>
            </a:r>
            <a:r>
              <a:rPr lang="de-CH" sz="1600" b="0" i="0" u="none" baseline="0" dirty="0"/>
              <a:t>Weisen Sie Ihr Team an, auf den bereitgestellten Link zu klicken, der sie zur </a:t>
            </a:r>
            <a:r>
              <a:rPr lang="de-CH" sz="1600" b="0" i="0" u="none" baseline="0" dirty="0" err="1"/>
              <a:t>Mentimeter</a:t>
            </a:r>
            <a:r>
              <a:rPr lang="de-CH" sz="1600" b="0" i="0" u="none" baseline="0" dirty="0"/>
              <a:t>-Präsentation führt. Bitten Sie sie, jede Aussage nacheinander durchzugehen und sie auf der 1-5-Skala zu bewerten.</a:t>
            </a:r>
          </a:p>
          <a:p>
            <a:pPr fontAlgn="base"/>
            <a:r>
              <a:rPr lang="de-CH" sz="1600" b="1" i="0" u="none" baseline="0" dirty="0"/>
              <a:t>Sammeln und analysieren Sie die Antworten: </a:t>
            </a:r>
            <a:r>
              <a:rPr lang="de-CH" sz="1600" b="0" i="0" u="none" baseline="0" dirty="0"/>
              <a:t>Sobald alle Teammitglieder die Aussagen bewertet haben, können Sie die Präsentation stoppen und die Ergebnisse in </a:t>
            </a:r>
            <a:r>
              <a:rPr lang="de-CH" sz="1600" b="0" i="0" u="none" baseline="0" dirty="0" err="1"/>
              <a:t>Mentimeter</a:t>
            </a:r>
            <a:r>
              <a:rPr lang="de-CH" sz="1600" b="0" i="0" u="none" baseline="0" dirty="0"/>
              <a:t> abrufen. Sie können eine Zusammenfassung der Bewertungen sehen und die Antworten analysieren.</a:t>
            </a:r>
          </a:p>
          <a:p>
            <a:pPr marL="0" indent="0" algn="l" fontAlgn="base">
              <a:buNone/>
            </a:pPr>
            <a:endParaRPr lang="de-CH" sz="1600" dirty="0">
              <a:cs typeface="Arial"/>
            </a:endParaRPr>
          </a:p>
          <a:p>
            <a:pPr marL="0" indent="0" algn="l" fontAlgn="base">
              <a:buNone/>
            </a:pPr>
            <a:endParaRPr lang="de-CH" sz="1600" dirty="0">
              <a:cs typeface="Arial"/>
            </a:endParaRPr>
          </a:p>
        </p:txBody>
      </p:sp>
      <p:sp>
        <p:nvSpPr>
          <p:cNvPr id="4" name="Datumsplatzhalter 3"/>
          <p:cNvSpPr>
            <a:spLocks noGrp="1"/>
          </p:cNvSpPr>
          <p:nvPr>
            <p:ph type="dt" sz="half" idx="10"/>
          </p:nvPr>
        </p:nvSpPr>
        <p:spPr/>
        <p:txBody>
          <a:bodyPr/>
          <a:lstStyle/>
          <a:p>
            <a:pPr algn="l"/>
            <a:fld id="{D5CB6A4C-ADE2-4F5E-ADD2-91711782887F}"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spcAft>
                <a:spcPts val="1200"/>
              </a:spcAft>
            </a:pPr>
            <a:r>
              <a:rPr lang="de-CH" b="0" i="0" u="none" baseline="0" dirty="0">
                <a:latin typeface="+mn-lt"/>
                <a:ea typeface="+mn-lt"/>
                <a:cs typeface="+mn-lt"/>
              </a:rPr>
              <a:t>Einen Teamkonsens entwickeln und die Arbeitswelt der Zukunft </a:t>
            </a:r>
            <a:r>
              <a:rPr lang="de-CH" b="0" i="0" u="none" baseline="0">
                <a:latin typeface="+mn-lt"/>
                <a:ea typeface="+mn-lt"/>
                <a:cs typeface="+mn-lt"/>
              </a:rPr>
              <a:t>gemeinsam gestalten</a:t>
            </a:r>
            <a:endParaRPr lang="de-CH"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4</a:t>
            </a:fld>
            <a:endParaRPr lang="de-CH" noProof="0" dirty="0"/>
          </a:p>
        </p:txBody>
      </p:sp>
      <p:sp>
        <p:nvSpPr>
          <p:cNvPr id="5" name="Rechteck 4">
            <a:extLst>
              <a:ext uri="{FF2B5EF4-FFF2-40B4-BE49-F238E27FC236}">
                <a16:creationId xmlns:a16="http://schemas.microsoft.com/office/drawing/2014/main" id="{C4E4176B-2361-477E-A786-7B1E08DDED9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2179413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7DFCCEE-8338-B7E3-4737-914D17E02297}"/>
              </a:ext>
            </a:extLst>
          </p:cNvPr>
          <p:cNvGraphicFramePr>
            <a:graphicFrameLocks noChangeAspect="1"/>
          </p:cNvGraphicFramePr>
          <p:nvPr>
            <p:custDataLst>
              <p:tags r:id="rId1"/>
            </p:custDataLst>
            <p:extLst>
              <p:ext uri="{D42A27DB-BD31-4B8C-83A1-F6EECF244321}">
                <p14:modId xmlns:p14="http://schemas.microsoft.com/office/powerpoint/2010/main" val="2429696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27DFCCEE-8338-B7E3-4737-914D17E02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CD164694-0894-5683-F43E-332E0F82F468}"/>
              </a:ext>
            </a:extLst>
          </p:cNvPr>
          <p:cNvSpPr>
            <a:spLocks noGrp="1"/>
          </p:cNvSpPr>
          <p:nvPr>
            <p:ph idx="1"/>
          </p:nvPr>
        </p:nvSpPr>
        <p:spPr>
          <a:xfrm>
            <a:off x="731837" y="304800"/>
            <a:ext cx="10728325" cy="5788075"/>
          </a:xfrm>
        </p:spPr>
        <p:txBody>
          <a:bodyPr/>
          <a:lstStyle/>
          <a:p>
            <a:pPr marL="0" lvl="0" indent="0" algn="l">
              <a:buNone/>
            </a:pPr>
            <a:r>
              <a:rPr lang="de-CH" sz="1800" b="0" i="0" u="none" baseline="0" dirty="0">
                <a:solidFill>
                  <a:schemeClr val="tx1"/>
                </a:solidFill>
              </a:rPr>
              <a:t>Wir fördern aktiv Innovation und Kreativität in unseren Arbeitsprozessen.</a:t>
            </a:r>
          </a:p>
          <a:p>
            <a:pPr marL="0" lvl="0" indent="0" algn="l">
              <a:buNone/>
            </a:pPr>
            <a:endParaRPr lang="de-CH" sz="1800" b="0" i="0" u="none" baseline="0" dirty="0">
              <a:solidFill>
                <a:schemeClr val="tx1"/>
              </a:solidFill>
            </a:endParaRPr>
          </a:p>
          <a:p>
            <a:pPr marL="0" lvl="0" indent="0" algn="l">
              <a:buNone/>
            </a:pPr>
            <a:endParaRPr lang="de-CH" sz="1800" b="0" i="0" u="none" baseline="0" dirty="0">
              <a:solidFill>
                <a:schemeClr val="tx1"/>
              </a:solidFill>
            </a:endParaRPr>
          </a:p>
          <a:p>
            <a:pPr marL="0" lvl="0" indent="0" algn="l">
              <a:buNone/>
            </a:pPr>
            <a:r>
              <a:rPr lang="de-CH" sz="1800" b="0" i="0" u="none" baseline="0" dirty="0">
                <a:solidFill>
                  <a:schemeClr val="tx1"/>
                </a:solidFill>
              </a:rPr>
              <a:t>Wir setzen Kommunikations-, Planungs- und Dokumentationswerkzeuge in unserer (hybriden) Arbeitsumgebung effektiv ein.</a:t>
            </a:r>
          </a:p>
          <a:p>
            <a:pPr marL="0" lvl="0" indent="0" algn="l">
              <a:buNone/>
            </a:pPr>
            <a:endParaRPr lang="de-CH" sz="1800" b="0" i="0" u="none" baseline="0" dirty="0">
              <a:solidFill>
                <a:schemeClr val="tx1"/>
              </a:solidFill>
            </a:endParaRPr>
          </a:p>
          <a:p>
            <a:pPr marL="0" lvl="0" indent="0" algn="l">
              <a:buNone/>
            </a:pPr>
            <a:endParaRPr lang="de-CH" sz="1800" b="0" i="0" u="none" baseline="0" dirty="0">
              <a:solidFill>
                <a:schemeClr val="tx1"/>
              </a:solidFill>
            </a:endParaRPr>
          </a:p>
          <a:p>
            <a:pPr marL="0" lvl="0" indent="0" algn="l">
              <a:buNone/>
            </a:pPr>
            <a:endParaRPr lang="de-CH" sz="1800" b="0" i="0" u="none" baseline="0" dirty="0">
              <a:solidFill>
                <a:schemeClr val="tx1"/>
              </a:solidFill>
            </a:endParaRPr>
          </a:p>
          <a:p>
            <a:pPr marL="0" lvl="0" indent="0" algn="l">
              <a:buNone/>
            </a:pPr>
            <a:r>
              <a:rPr lang="de-CH" sz="1800" b="0" i="0" u="none" baseline="0" dirty="0">
                <a:solidFill>
                  <a:schemeClr val="tx1"/>
                </a:solidFill>
              </a:rPr>
              <a:t>Wir verfügen über Mechanismen, die ein kontinuierliches Lernen voneinander ermöglichen.</a:t>
            </a:r>
          </a:p>
          <a:p>
            <a:pPr marL="0" lvl="0" indent="0" algn="l">
              <a:buNone/>
            </a:pPr>
            <a:endParaRPr lang="de-CH" sz="1800" b="0" i="0" u="none" baseline="0" dirty="0">
              <a:solidFill>
                <a:schemeClr val="tx1"/>
              </a:solidFill>
            </a:endParaRPr>
          </a:p>
          <a:p>
            <a:pPr marL="0" lvl="0" indent="0" algn="l">
              <a:buNone/>
            </a:pPr>
            <a:endParaRPr lang="de-CH" sz="1800" b="0" i="0" u="none" baseline="0" dirty="0">
              <a:solidFill>
                <a:schemeClr val="tx1"/>
              </a:solidFill>
            </a:endParaRPr>
          </a:p>
          <a:p>
            <a:pPr marL="0" lvl="0" indent="0" algn="l">
              <a:buNone/>
            </a:pPr>
            <a:endParaRPr lang="de-CH" sz="1800" b="0" i="0" u="none" baseline="0" dirty="0">
              <a:solidFill>
                <a:schemeClr val="tx1"/>
              </a:solidFill>
            </a:endParaRPr>
          </a:p>
          <a:p>
            <a:pPr marL="0" lvl="0" indent="0" algn="l">
              <a:buNone/>
            </a:pPr>
            <a:r>
              <a:rPr lang="de-CH" sz="1800" b="0" i="0" u="none" baseline="0" dirty="0">
                <a:solidFill>
                  <a:schemeClr val="tx1"/>
                </a:solidFill>
              </a:rPr>
              <a:t>Wir haben einen klaren Plan für das Onboarding neuer Teammitglieder in unserer (hybriden) Arbeitsumgebung.</a:t>
            </a:r>
            <a:endParaRPr lang="de-CH" dirty="0"/>
          </a:p>
        </p:txBody>
      </p:sp>
      <p:sp>
        <p:nvSpPr>
          <p:cNvPr id="4" name="Date Placeholder 3">
            <a:extLst>
              <a:ext uri="{FF2B5EF4-FFF2-40B4-BE49-F238E27FC236}">
                <a16:creationId xmlns:a16="http://schemas.microsoft.com/office/drawing/2014/main" id="{503B1E74-5023-4D15-B036-C90C46C67203}"/>
              </a:ext>
            </a:extLst>
          </p:cNvPr>
          <p:cNvSpPr>
            <a:spLocks noGrp="1"/>
          </p:cNvSpPr>
          <p:nvPr>
            <p:ph type="dt" sz="half" idx="10"/>
          </p:nvPr>
        </p:nvSpPr>
        <p:spPr/>
        <p:txBody>
          <a:bodyPr/>
          <a:lstStyle/>
          <a:p>
            <a:fld id="{22E7FF81-F003-42F9-B6E3-28D6E9EA8BDF}" type="datetime1">
              <a:rPr lang="de-CH" smtClean="0"/>
              <a:t>29.02.2024</a:t>
            </a:fld>
            <a:endParaRPr lang="de-CH" dirty="0"/>
          </a:p>
        </p:txBody>
      </p:sp>
      <p:sp>
        <p:nvSpPr>
          <p:cNvPr id="5" name="Footer Placeholder 4">
            <a:extLst>
              <a:ext uri="{FF2B5EF4-FFF2-40B4-BE49-F238E27FC236}">
                <a16:creationId xmlns:a16="http://schemas.microsoft.com/office/drawing/2014/main" id="{985DE3C5-74AD-C105-2AAE-E8BA874F5D40}"/>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Slide Number Placeholder 5">
            <a:extLst>
              <a:ext uri="{FF2B5EF4-FFF2-40B4-BE49-F238E27FC236}">
                <a16:creationId xmlns:a16="http://schemas.microsoft.com/office/drawing/2014/main" id="{E5170B01-4FDA-7FC8-A45E-4C6ED2C6E843}"/>
              </a:ext>
            </a:extLst>
          </p:cNvPr>
          <p:cNvSpPr>
            <a:spLocks noGrp="1"/>
          </p:cNvSpPr>
          <p:nvPr>
            <p:ph type="sldNum" sz="quarter" idx="12"/>
          </p:nvPr>
        </p:nvSpPr>
        <p:spPr/>
        <p:txBody>
          <a:bodyPr/>
          <a:lstStyle/>
          <a:p>
            <a:fld id="{5ACA52AF-F19D-405C-AD5F-7D94B96A5CC3}" type="slidenum">
              <a:rPr lang="de-CH" smtClean="0"/>
              <a:pPr/>
              <a:t>25</a:t>
            </a:fld>
            <a:endParaRPr lang="de-CH" dirty="0"/>
          </a:p>
        </p:txBody>
      </p:sp>
      <p:pic>
        <p:nvPicPr>
          <p:cNvPr id="8" name="Picture 7">
            <a:extLst>
              <a:ext uri="{FF2B5EF4-FFF2-40B4-BE49-F238E27FC236}">
                <a16:creationId xmlns:a16="http://schemas.microsoft.com/office/drawing/2014/main" id="{B0E83C3F-F117-A442-BB56-10B4AA6B60B9}"/>
              </a:ext>
            </a:extLst>
          </p:cNvPr>
          <p:cNvPicPr>
            <a:picLocks noChangeAspect="1"/>
          </p:cNvPicPr>
          <p:nvPr/>
        </p:nvPicPr>
        <p:blipFill rotWithShape="1">
          <a:blip r:embed="rId6"/>
          <a:srcRect r="6946" b="14451"/>
          <a:stretch/>
        </p:blipFill>
        <p:spPr>
          <a:xfrm>
            <a:off x="731831" y="802287"/>
            <a:ext cx="7945341" cy="276117"/>
          </a:xfrm>
          <a:prstGeom prst="rect">
            <a:avLst/>
          </a:prstGeom>
        </p:spPr>
      </p:pic>
      <p:pic>
        <p:nvPicPr>
          <p:cNvPr id="9" name="Picture 8">
            <a:extLst>
              <a:ext uri="{FF2B5EF4-FFF2-40B4-BE49-F238E27FC236}">
                <a16:creationId xmlns:a16="http://schemas.microsoft.com/office/drawing/2014/main" id="{28D595F2-B342-6C4E-C5AB-A9D1931F70B5}"/>
              </a:ext>
            </a:extLst>
          </p:cNvPr>
          <p:cNvPicPr>
            <a:picLocks noChangeAspect="1"/>
          </p:cNvPicPr>
          <p:nvPr/>
        </p:nvPicPr>
        <p:blipFill rotWithShape="1">
          <a:blip r:embed="rId6"/>
          <a:srcRect r="6946" b="14451"/>
          <a:stretch/>
        </p:blipFill>
        <p:spPr>
          <a:xfrm>
            <a:off x="731831" y="2419135"/>
            <a:ext cx="7945341" cy="276117"/>
          </a:xfrm>
          <a:prstGeom prst="rect">
            <a:avLst/>
          </a:prstGeom>
        </p:spPr>
      </p:pic>
      <p:pic>
        <p:nvPicPr>
          <p:cNvPr id="10" name="Picture 9">
            <a:extLst>
              <a:ext uri="{FF2B5EF4-FFF2-40B4-BE49-F238E27FC236}">
                <a16:creationId xmlns:a16="http://schemas.microsoft.com/office/drawing/2014/main" id="{8FDE1D01-1031-955B-7856-DDEAB04EDE5C}"/>
              </a:ext>
            </a:extLst>
          </p:cNvPr>
          <p:cNvPicPr>
            <a:picLocks noChangeAspect="1"/>
          </p:cNvPicPr>
          <p:nvPr/>
        </p:nvPicPr>
        <p:blipFill rotWithShape="1">
          <a:blip r:embed="rId6"/>
          <a:srcRect r="6946" b="14451"/>
          <a:stretch/>
        </p:blipFill>
        <p:spPr>
          <a:xfrm>
            <a:off x="731833" y="5721380"/>
            <a:ext cx="7945341" cy="276117"/>
          </a:xfrm>
          <a:prstGeom prst="rect">
            <a:avLst/>
          </a:prstGeom>
        </p:spPr>
      </p:pic>
      <p:pic>
        <p:nvPicPr>
          <p:cNvPr id="11" name="Picture 10">
            <a:extLst>
              <a:ext uri="{FF2B5EF4-FFF2-40B4-BE49-F238E27FC236}">
                <a16:creationId xmlns:a16="http://schemas.microsoft.com/office/drawing/2014/main" id="{933878ED-61B2-D6A9-78BA-375B6BCF4451}"/>
              </a:ext>
            </a:extLst>
          </p:cNvPr>
          <p:cNvPicPr>
            <a:picLocks noChangeAspect="1"/>
          </p:cNvPicPr>
          <p:nvPr/>
        </p:nvPicPr>
        <p:blipFill rotWithShape="1">
          <a:blip r:embed="rId6"/>
          <a:srcRect r="6946" b="14451"/>
          <a:stretch/>
        </p:blipFill>
        <p:spPr>
          <a:xfrm>
            <a:off x="731832" y="3937040"/>
            <a:ext cx="7945341" cy="276117"/>
          </a:xfrm>
          <a:prstGeom prst="rect">
            <a:avLst/>
          </a:prstGeom>
        </p:spPr>
      </p:pic>
      <p:sp>
        <p:nvSpPr>
          <p:cNvPr id="2" name="Rechteck 10">
            <a:extLst>
              <a:ext uri="{FF2B5EF4-FFF2-40B4-BE49-F238E27FC236}">
                <a16:creationId xmlns:a16="http://schemas.microsoft.com/office/drawing/2014/main" id="{DF4FF5CC-ABEC-B79E-874B-40214B89CC6D}"/>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64560446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130988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Inhaltsplatzhalter 2">
            <a:extLst>
              <a:ext uri="{FF2B5EF4-FFF2-40B4-BE49-F238E27FC236}">
                <a16:creationId xmlns:a16="http://schemas.microsoft.com/office/drawing/2014/main" id="{DA9D408E-409A-09DE-FA88-268F95DF1BEC}"/>
              </a:ext>
            </a:extLst>
          </p:cNvPr>
          <p:cNvSpPr>
            <a:spLocks noGrp="1"/>
          </p:cNvSpPr>
          <p:nvPr>
            <p:ph idx="1"/>
          </p:nvPr>
        </p:nvSpPr>
        <p:spPr>
          <a:xfrm>
            <a:off x="764682" y="1189530"/>
            <a:ext cx="10905687" cy="4680000"/>
          </a:xfrm>
        </p:spPr>
        <p:txBody>
          <a:bodyPr vert="horz" lIns="0" tIns="0" rIns="0" bIns="0" rtlCol="0" anchor="t">
            <a:noAutofit/>
          </a:bodyPr>
          <a:lstStyle/>
          <a:p>
            <a:pPr marL="0" indent="0" algn="l">
              <a:buNone/>
            </a:pPr>
            <a:r>
              <a:rPr lang="de-CH" i="0" u="none" baseline="0" dirty="0"/>
              <a:t>Diskutieren Sie die Ergebnisse Ihrer Bewertung offen im Team und berücksichtigen Sie dabei die folgenden Perspektiven (25 Minuten)...</a:t>
            </a:r>
          </a:p>
          <a:p>
            <a:pPr marL="0" indent="0" algn="l">
              <a:buNone/>
            </a:pPr>
            <a:endParaRPr lang="de-CH" dirty="0"/>
          </a:p>
          <a:p>
            <a:pPr marL="0" indent="0" algn="l">
              <a:buNone/>
            </a:pPr>
            <a:endParaRPr lang="de-CH" i="0" u="none" baseline="0" dirty="0"/>
          </a:p>
          <a:p>
            <a:pPr marL="0" indent="0" algn="l">
              <a:buNone/>
            </a:pPr>
            <a:endParaRPr lang="de-CH" dirty="0"/>
          </a:p>
          <a:p>
            <a:pPr marL="0" indent="0" algn="l">
              <a:buNone/>
            </a:pPr>
            <a:endParaRPr lang="de-CH" i="0" u="none" baseline="0" dirty="0"/>
          </a:p>
          <a:p>
            <a:pPr marL="0" indent="0" algn="l">
              <a:buNone/>
            </a:pPr>
            <a:endParaRPr lang="de-CH" dirty="0"/>
          </a:p>
          <a:p>
            <a:pPr marL="0" indent="0" algn="l">
              <a:buNone/>
            </a:pPr>
            <a:endParaRPr lang="de-CH" i="0" u="none" baseline="0" dirty="0"/>
          </a:p>
          <a:p>
            <a:pPr marL="0" indent="0" algn="l">
              <a:buNone/>
            </a:pPr>
            <a:endParaRPr lang="de-CH" dirty="0"/>
          </a:p>
          <a:p>
            <a:pPr marL="0" indent="0" algn="l">
              <a:buNone/>
            </a:pPr>
            <a:endParaRPr lang="de-CH" dirty="0"/>
          </a:p>
          <a:p>
            <a:pPr marL="0" indent="0" algn="l">
              <a:buNone/>
            </a:pPr>
            <a:r>
              <a:rPr lang="de-CH" i="0" u="none" baseline="0" dirty="0"/>
              <a:t>Bitte machen Sie Notizen auf den Flipcharts.</a:t>
            </a:r>
            <a:endParaRPr lang="de-CH" dirty="0">
              <a:cs typeface="Arial"/>
            </a:endParaRPr>
          </a:p>
        </p:txBody>
      </p:sp>
      <p:sp>
        <p:nvSpPr>
          <p:cNvPr id="2" name="Titel 1"/>
          <p:cNvSpPr>
            <a:spLocks noGrp="1"/>
          </p:cNvSpPr>
          <p:nvPr>
            <p:ph type="title"/>
          </p:nvPr>
        </p:nvSpPr>
        <p:spPr/>
        <p:txBody>
          <a:bodyPr vert="horz"/>
          <a:lstStyle/>
          <a:p>
            <a:pPr algn="l"/>
            <a:r>
              <a:rPr lang="de-CH" sz="2800" b="0" i="0" u="none" kern="1200" baseline="0" dirty="0">
                <a:effectLst/>
              </a:rPr>
              <a:t>Zielerreichung - offene Diskussion</a:t>
            </a:r>
            <a:endParaRPr lang="de-CH" b="1" i="0" u="none" baseline="0" dirty="0"/>
          </a:p>
        </p:txBody>
      </p:sp>
      <p:sp>
        <p:nvSpPr>
          <p:cNvPr id="4" name="Datumsplatzhalter 3"/>
          <p:cNvSpPr>
            <a:spLocks noGrp="1"/>
          </p:cNvSpPr>
          <p:nvPr>
            <p:ph type="dt" sz="half" idx="10"/>
          </p:nvPr>
        </p:nvSpPr>
        <p:spPr/>
        <p:txBody>
          <a:bodyPr/>
          <a:lstStyle/>
          <a:p>
            <a:pPr algn="l"/>
            <a:fld id="{18011416-5E3F-45D6-820F-1ECE2B5C6DEA}" type="datetime1">
              <a:rPr lang="de-CH" smtClean="0"/>
              <a:t>29.02.2024</a:t>
            </a:fld>
            <a:endParaRPr lang="de-CH"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6</a:t>
            </a:fld>
            <a:endParaRPr lang="de-CH" noProof="0" dirty="0"/>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
        <p:nvSpPr>
          <p:cNvPr id="8" name="Arrow: Pentagon 7">
            <a:extLst>
              <a:ext uri="{FF2B5EF4-FFF2-40B4-BE49-F238E27FC236}">
                <a16:creationId xmlns:a16="http://schemas.microsoft.com/office/drawing/2014/main" id="{7E82D9E2-4D72-EAE2-EFB6-FD1993DA9AB5}"/>
              </a:ext>
            </a:extLst>
          </p:cNvPr>
          <p:cNvSpPr/>
          <p:nvPr/>
        </p:nvSpPr>
        <p:spPr>
          <a:xfrm>
            <a:off x="4573933" y="2672443"/>
            <a:ext cx="2160000"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latin typeface="Arial"/>
                <a:ea typeface="Arial"/>
                <a:cs typeface="Arial"/>
              </a:rPr>
              <a:t>Die Zukunft gestalten - </a:t>
            </a:r>
            <a:r>
              <a:rPr lang="de-CH" i="0" u="none" baseline="0" dirty="0">
                <a:solidFill>
                  <a:schemeClr val="tx1"/>
                </a:solidFill>
                <a:latin typeface="Arial"/>
                <a:ea typeface="Arial"/>
                <a:cs typeface="Arial"/>
              </a:rPr>
              <a:t>Wie möchten wir sie haben?</a:t>
            </a:r>
          </a:p>
        </p:txBody>
      </p:sp>
      <p:sp>
        <p:nvSpPr>
          <p:cNvPr id="10" name="Arrow: Pentagon 9">
            <a:extLst>
              <a:ext uri="{FF2B5EF4-FFF2-40B4-BE49-F238E27FC236}">
                <a16:creationId xmlns:a16="http://schemas.microsoft.com/office/drawing/2014/main" id="{AAF93C9E-A0E3-4A95-4A53-55C6DEA6DE0E}"/>
              </a:ext>
            </a:extLst>
          </p:cNvPr>
          <p:cNvSpPr/>
          <p:nvPr/>
        </p:nvSpPr>
        <p:spPr>
          <a:xfrm>
            <a:off x="1319665" y="2672443"/>
            <a:ext cx="2160000" cy="1513114"/>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rPr>
              <a:t>Rückblick - </a:t>
            </a:r>
            <a:r>
              <a:rPr lang="de-CH" i="0" u="none" baseline="0" dirty="0">
                <a:solidFill>
                  <a:schemeClr val="tx1"/>
                </a:solidFill>
              </a:rPr>
              <a:t>Wie ist es bisher gelaufen?</a:t>
            </a:r>
            <a:endParaRPr lang="de-CH" i="0" u="none" baseline="0" dirty="0">
              <a:solidFill>
                <a:schemeClr val="tx1"/>
              </a:solidFill>
              <a:latin typeface="Arial"/>
              <a:ea typeface="Arial"/>
              <a:cs typeface="Arial"/>
            </a:endParaRPr>
          </a:p>
        </p:txBody>
      </p:sp>
      <p:sp>
        <p:nvSpPr>
          <p:cNvPr id="11" name="Arrow: Pentagon 10">
            <a:extLst>
              <a:ext uri="{FF2B5EF4-FFF2-40B4-BE49-F238E27FC236}">
                <a16:creationId xmlns:a16="http://schemas.microsoft.com/office/drawing/2014/main" id="{320A0E14-9902-DE65-9C53-9DE04FF77466}"/>
              </a:ext>
            </a:extLst>
          </p:cNvPr>
          <p:cNvSpPr/>
          <p:nvPr/>
        </p:nvSpPr>
        <p:spPr>
          <a:xfrm>
            <a:off x="7740232" y="2694214"/>
            <a:ext cx="2160000" cy="1496786"/>
          </a:xfrm>
          <a:prstGeom prst="homePlate">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de-CH" b="1" i="0" u="none" baseline="0" dirty="0">
                <a:solidFill>
                  <a:schemeClr val="tx1"/>
                </a:solidFill>
                <a:latin typeface="Arial"/>
                <a:ea typeface="Arial"/>
                <a:cs typeface="Arial"/>
              </a:rPr>
              <a:t>Handeln - </a:t>
            </a:r>
            <a:r>
              <a:rPr lang="de-CH" i="0" u="none" baseline="0" dirty="0">
                <a:solidFill>
                  <a:schemeClr val="tx1"/>
                </a:solidFill>
                <a:latin typeface="Arial"/>
                <a:ea typeface="Arial"/>
                <a:cs typeface="Arial"/>
              </a:rPr>
              <a:t>Was werden wir tun?</a:t>
            </a:r>
          </a:p>
        </p:txBody>
      </p:sp>
      <p:pic>
        <p:nvPicPr>
          <p:cNvPr id="13" name="Graphic 12" descr="Drawing Figure outline">
            <a:extLst>
              <a:ext uri="{FF2B5EF4-FFF2-40B4-BE49-F238E27FC236}">
                <a16:creationId xmlns:a16="http://schemas.microsoft.com/office/drawing/2014/main" id="{40299F23-3C73-23F6-5862-86682A22CD3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950773" y="4220179"/>
            <a:ext cx="914400" cy="914400"/>
          </a:xfrm>
          <a:prstGeom prst="rect">
            <a:avLst/>
          </a:prstGeom>
        </p:spPr>
      </p:pic>
    </p:spTree>
    <p:extLst>
      <p:ext uri="{BB962C8B-B14F-4D97-AF65-F5344CB8AC3E}">
        <p14:creationId xmlns:p14="http://schemas.microsoft.com/office/powerpoint/2010/main" val="34201522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CDCEE2-AAC6-003F-0A1F-30A6BCABF5A5}"/>
              </a:ext>
            </a:extLst>
          </p:cNvPr>
          <p:cNvGraphicFramePr>
            <a:graphicFrameLocks noChangeAspect="1"/>
          </p:cNvGraphicFramePr>
          <p:nvPr>
            <p:custDataLst>
              <p:tags r:id="rId1"/>
            </p:custDataLst>
            <p:extLst>
              <p:ext uri="{D42A27DB-BD31-4B8C-83A1-F6EECF244321}">
                <p14:modId xmlns:p14="http://schemas.microsoft.com/office/powerpoint/2010/main" val="1927648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43CDCEE2-AAC6-003F-0A1F-30A6BCABF5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Inhaltsplatzhalter 7" descr="Picture containing the colours orange and blue.&#10;&#10;Automatically generated description">
            <a:extLst>
              <a:ext uri="{FF2B5EF4-FFF2-40B4-BE49-F238E27FC236}">
                <a16:creationId xmlns:a16="http://schemas.microsoft.com/office/drawing/2014/main" id="{37EC6C76-028C-49DD-AE90-D9B65D73DBF5}"/>
              </a:ext>
            </a:extLst>
          </p:cNvPr>
          <p:cNvPicPr>
            <a:picLocks noGrp="1" noChangeAspect="1"/>
          </p:cNvPicPr>
          <p:nvPr>
            <p:ph idx="1"/>
          </p:nvPr>
        </p:nvPicPr>
        <p:blipFill rotWithShape="1">
          <a:blip r:embed="rId6"/>
          <a:srcRect l="6527" t="39032" r="1" b="25916"/>
          <a:stretch/>
        </p:blipFill>
        <p:spPr>
          <a:xfrm>
            <a:off x="-1" y="1"/>
            <a:ext cx="12191999" cy="6858000"/>
          </a:xfrm>
        </p:spPr>
      </p:pic>
      <p:sp>
        <p:nvSpPr>
          <p:cNvPr id="2" name="Titel 1">
            <a:extLst>
              <a:ext uri="{FF2B5EF4-FFF2-40B4-BE49-F238E27FC236}">
                <a16:creationId xmlns:a16="http://schemas.microsoft.com/office/drawing/2014/main" id="{16DDB4A8-8E54-4562-8121-37460FF81563}"/>
              </a:ext>
            </a:extLst>
          </p:cNvPr>
          <p:cNvSpPr>
            <a:spLocks noGrp="1"/>
          </p:cNvSpPr>
          <p:nvPr>
            <p:ph type="title"/>
          </p:nvPr>
        </p:nvSpPr>
        <p:spPr>
          <a:xfrm rot="1012755">
            <a:off x="1350945" y="102696"/>
            <a:ext cx="10728325" cy="900000"/>
          </a:xfrm>
        </p:spPr>
        <p:txBody>
          <a:bodyPr vert="horz"/>
          <a:lstStyle/>
          <a:p>
            <a:pPr algn="ctr"/>
            <a:br>
              <a:rPr lang="de-CH" sz="7000">
                <a:effectLst>
                  <a:outerShdw blurRad="38100" dist="38100" dir="2700000" algn="tl">
                    <a:srgbClr val="000000">
                      <a:alpha val="43137"/>
                    </a:srgbClr>
                  </a:outerShdw>
                </a:effectLst>
              </a:rPr>
            </a:br>
            <a:br>
              <a:rPr lang="de-CH" sz="7000">
                <a:effectLst>
                  <a:outerShdw blurRad="38100" dist="38100" dir="2700000" algn="tl">
                    <a:srgbClr val="000000">
                      <a:alpha val="43137"/>
                    </a:srgbClr>
                  </a:outerShdw>
                </a:effectLst>
              </a:rPr>
            </a:br>
            <a:br>
              <a:rPr lang="de-CH" sz="7000">
                <a:effectLst>
                  <a:outerShdw blurRad="38100" dist="38100" dir="2700000" algn="tl">
                    <a:srgbClr val="000000">
                      <a:alpha val="43137"/>
                    </a:srgbClr>
                  </a:outerShdw>
                </a:effectLst>
              </a:rPr>
            </a:br>
            <a:r>
              <a:rPr lang="de-CH" sz="7000" b="0" i="0" u="none" baseline="0">
                <a:effectLst>
                  <a:outerShdw blurRad="38100" dist="38100" dir="2700000" algn="tl">
                    <a:srgbClr val="000000">
                      <a:alpha val="43137"/>
                    </a:srgbClr>
                  </a:outerShdw>
                </a:effectLst>
              </a:rPr>
              <a:t>Break</a:t>
            </a:r>
            <a:endParaRPr lang="de-CH" sz="7000" b="0" i="0" u="none" baseline="0" dirty="0">
              <a:effectLst>
                <a:outerShdw blurRad="38100" dist="38100" dir="2700000" algn="tl">
                  <a:srgbClr val="000000">
                    <a:alpha val="43137"/>
                  </a:srgbClr>
                </a:outerShdw>
              </a:effectLst>
            </a:endParaRPr>
          </a:p>
        </p:txBody>
      </p:sp>
      <p:sp>
        <p:nvSpPr>
          <p:cNvPr id="4" name="Datumsplatzhalter 3">
            <a:extLst>
              <a:ext uri="{FF2B5EF4-FFF2-40B4-BE49-F238E27FC236}">
                <a16:creationId xmlns:a16="http://schemas.microsoft.com/office/drawing/2014/main" id="{FBA991CE-06F3-4A2A-8685-B91781527155}"/>
              </a:ext>
            </a:extLst>
          </p:cNvPr>
          <p:cNvSpPr>
            <a:spLocks noGrp="1"/>
          </p:cNvSpPr>
          <p:nvPr>
            <p:ph type="dt" sz="half" idx="10"/>
          </p:nvPr>
        </p:nvSpPr>
        <p:spPr/>
        <p:txBody>
          <a:bodyPr/>
          <a:lstStyle/>
          <a:p>
            <a:pPr algn="l"/>
            <a:fld id="{39E01CCD-1E90-4B2B-A573-94B8C4AC5364}" type="datetime1">
              <a:rPr lang="de-CH" smtClean="0"/>
              <a:t>29.02.2024</a:t>
            </a:fld>
            <a:endParaRPr lang="de-CH" noProof="0" dirty="0"/>
          </a:p>
        </p:txBody>
      </p:sp>
      <p:sp>
        <p:nvSpPr>
          <p:cNvPr id="6" name="Foliennummernplatzhalter 5">
            <a:extLst>
              <a:ext uri="{FF2B5EF4-FFF2-40B4-BE49-F238E27FC236}">
                <a16:creationId xmlns:a16="http://schemas.microsoft.com/office/drawing/2014/main" id="{248C7CDF-0D2B-474C-A3C5-68C2D15B5AD7}"/>
              </a:ext>
            </a:extLst>
          </p:cNvPr>
          <p:cNvSpPr>
            <a:spLocks noGrp="1"/>
          </p:cNvSpPr>
          <p:nvPr>
            <p:ph type="sldNum" sz="quarter" idx="12"/>
          </p:nvPr>
        </p:nvSpPr>
        <p:spPr/>
        <p:txBody>
          <a:bodyPr/>
          <a:lstStyle/>
          <a:p>
            <a:pPr algn="r"/>
            <a:fld id="{5ACA52AF-F19D-405C-AD5F-7D94B96A5CC3}" type="slidenum">
              <a:rPr lang="de-CH" smtClean="0"/>
              <a:pPr algn="r"/>
              <a:t>27</a:t>
            </a:fld>
            <a:endParaRPr lang="de-CH" noProof="0" dirty="0"/>
          </a:p>
        </p:txBody>
      </p:sp>
      <p:sp>
        <p:nvSpPr>
          <p:cNvPr id="7" name="Rechteck 6">
            <a:extLst>
              <a:ext uri="{FF2B5EF4-FFF2-40B4-BE49-F238E27FC236}">
                <a16:creationId xmlns:a16="http://schemas.microsoft.com/office/drawing/2014/main" id="{56FF9BC1-A8A7-4A3F-A30B-3C00629A68E8}"/>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
        <p:nvSpPr>
          <p:cNvPr id="5" name="Footer Placeholder 4">
            <a:extLst>
              <a:ext uri="{FF2B5EF4-FFF2-40B4-BE49-F238E27FC236}">
                <a16:creationId xmlns:a16="http://schemas.microsoft.com/office/drawing/2014/main" id="{C7C6DBEA-F9A0-0BC9-25A5-9839A8F2523A}"/>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Tree>
    <p:extLst>
      <p:ext uri="{BB962C8B-B14F-4D97-AF65-F5344CB8AC3E}">
        <p14:creationId xmlns:p14="http://schemas.microsoft.com/office/powerpoint/2010/main" val="233039007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215410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1514E25F-8C39-478E-86F0-122A6A3845BD}"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8</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040550637"/>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a:effectLst/>
                        </a:rPr>
                        <a:t>2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kern="1200" baseline="0">
                          <a:effectLst/>
                        </a:rPr>
                        <a:t>Check-in</a:t>
                      </a:r>
                      <a:endParaRPr lang="de-CH" sz="1600" b="0" i="0" u="none" kern="1200" baseline="0" dirty="0">
                        <a:effectLst/>
                      </a:endParaRP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baseline="0" dirty="0"/>
                        <a:t>Zusammenarbeit</a:t>
                      </a:r>
                      <a:endParaRPr lang="de-CH" sz="1600" b="0" i="0" u="none" kern="1200" baseline="0" dirty="0">
                        <a:effectLst/>
                      </a:endParaRP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ielerreichung</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solidFill>
                            <a:schemeClr val="bg1"/>
                          </a:solidFill>
                          <a:effectLst/>
                        </a:rPr>
                        <a:t>30 Min.</a:t>
                      </a:r>
                      <a:endParaRPr lang="de-CH" sz="1600" noProof="0" dirty="0">
                        <a:solidFill>
                          <a:schemeClr val="bg1"/>
                        </a:solidFill>
                        <a:effectLst/>
                      </a:endParaRPr>
                    </a:p>
                  </a:txBody>
                  <a:tcPr marL="72000" marR="0" marT="0" marB="0" anchor="ctr">
                    <a:solidFill>
                      <a:schemeClr val="accent2"/>
                    </a:solidFill>
                  </a:tcPr>
                </a:tc>
                <a:tc>
                  <a:txBody>
                    <a:bodyPr/>
                    <a:lstStyle/>
                    <a:p>
                      <a:pPr marL="0" indent="0" algn="l" rtl="0" eaLnBrk="1" latinLnBrk="0" hangingPunct="1">
                        <a:spcBef>
                          <a:spcPts val="0"/>
                        </a:spcBef>
                        <a:spcAft>
                          <a:spcPts val="0"/>
                        </a:spcAft>
                      </a:pPr>
                      <a:r>
                        <a:rPr lang="de-CH" sz="1600" b="0" i="0" u="none" kern="1200" baseline="0" dirty="0">
                          <a:solidFill>
                            <a:schemeClr val="bg1"/>
                          </a:solidFill>
                          <a:effectLst/>
                        </a:rPr>
                        <a:t>Zusammenhalt und Wohlbefinden im Team</a:t>
                      </a:r>
                    </a:p>
                  </a:txBody>
                  <a:tcPr marL="72000" marR="0" marT="0" marB="0" anchor="ctr">
                    <a:solidFill>
                      <a:schemeClr val="accent2"/>
                    </a:solidFill>
                  </a:tcP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effectLst/>
                        </a:rPr>
                        <a:t>20 Min.</a:t>
                      </a:r>
                      <a:endParaRPr lang="de-CH" sz="1600" noProof="0" dirty="0"/>
                    </a:p>
                  </a:txBody>
                  <a:tcPr marL="72000" marR="0" marT="0" marB="0" anchor="ctr"/>
                </a:tc>
                <a:tc>
                  <a:txBody>
                    <a:bodyPr/>
                    <a:lstStyle/>
                    <a:p>
                      <a:pPr marL="0" algn="l" rtl="0" eaLnBrk="1" latinLnBrk="0" hangingPunct="1">
                        <a:spcBef>
                          <a:spcPts val="0"/>
                        </a:spcBef>
                        <a:spcAft>
                          <a:spcPts val="0"/>
                        </a:spcAft>
                      </a:pPr>
                      <a:r>
                        <a:rPr lang="de-CH" sz="1600" b="0" i="0" u="none" kern="1200" baseline="0" dirty="0">
                          <a:effectLst/>
                        </a:rPr>
                        <a:t>Check-out &amp; Verabschiedung</a:t>
                      </a:r>
                    </a:p>
                  </a:txBody>
                  <a:tcPr marL="72000" marR="0" marT="0" marB="0" anchor="ct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20844120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CD3BF2A-4B05-1D82-BE24-6EDADE277B81}"/>
              </a:ext>
            </a:extLst>
          </p:cNvPr>
          <p:cNvGraphicFramePr>
            <a:graphicFrameLocks noChangeAspect="1"/>
          </p:cNvGraphicFramePr>
          <p:nvPr>
            <p:custDataLst>
              <p:tags r:id="rId1"/>
            </p:custDataLst>
            <p:extLst>
              <p:ext uri="{D42A27DB-BD31-4B8C-83A1-F6EECF244321}">
                <p14:modId xmlns:p14="http://schemas.microsoft.com/office/powerpoint/2010/main" val="4188981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CD3BF2A-4B05-1D82-BE24-6EDADE277B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sz="2800" b="0" i="0" u="none" kern="1200" baseline="0" dirty="0">
                <a:effectLst/>
              </a:rPr>
              <a:t>Zusammenhalt und Wohlbefinden im Team</a:t>
            </a:r>
            <a:endParaRPr lang="de-CH" b="0" i="0" u="none" baseline="0" dirty="0"/>
          </a:p>
        </p:txBody>
      </p:sp>
      <p:sp>
        <p:nvSpPr>
          <p:cNvPr id="4" name="Datumsplatzhalter 3"/>
          <p:cNvSpPr>
            <a:spLocks noGrp="1"/>
          </p:cNvSpPr>
          <p:nvPr>
            <p:ph type="dt" sz="half" idx="10"/>
          </p:nvPr>
        </p:nvSpPr>
        <p:spPr/>
        <p:txBody>
          <a:bodyPr/>
          <a:lstStyle/>
          <a:p>
            <a:pPr algn="l"/>
            <a:fld id="{35E14F02-3682-4388-9CF5-04EFB2BECFC4}" type="datetime1">
              <a:rPr lang="de-CH" smtClean="0"/>
              <a:t>29.02.2024</a:t>
            </a:fld>
            <a:endParaRPr lang="de-CH" noProof="0" dirty="0"/>
          </a:p>
        </p:txBody>
      </p:sp>
      <p:sp>
        <p:nvSpPr>
          <p:cNvPr id="12"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29</a:t>
            </a:fld>
            <a:endParaRPr lang="de-CH" noProof="0" dirty="0"/>
          </a:p>
        </p:txBody>
      </p:sp>
      <p:sp>
        <p:nvSpPr>
          <p:cNvPr id="10" name="Rechteck 9"/>
          <p:cNvSpPr/>
          <p:nvPr/>
        </p:nvSpPr>
        <p:spPr>
          <a:xfrm>
            <a:off x="731836" y="1175569"/>
            <a:ext cx="10728325" cy="3385545"/>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de-CH" i="0" u="none" baseline="0" dirty="0">
                <a:solidFill>
                  <a:schemeClr val="tx1"/>
                </a:solidFill>
              </a:rPr>
              <a:t>1. Bilden Sie Zweiergruppen und diskutieren Sie anhand der folgenden Fragen über Zusammenhalt und Wohlbefinden im Team (15 Minuten):</a:t>
            </a:r>
          </a:p>
          <a:p>
            <a:pPr marL="800100" lvl="1" indent="-342900">
              <a:buFont typeface="Symbol" panose="05050102010706020507" pitchFamily="18" charset="2"/>
              <a:buChar char="-"/>
            </a:pPr>
            <a:r>
              <a:rPr lang="de-CH" b="0" i="0" u="none" baseline="0" dirty="0">
                <a:solidFill>
                  <a:schemeClr val="tx1"/>
                </a:solidFill>
              </a:rPr>
              <a:t>Was tun wir, um uns nicht nur in unseren Rollen, sondern auch als Kolleginnen und Kollegen zu verbinden?</a:t>
            </a:r>
          </a:p>
          <a:p>
            <a:pPr marL="800100" lvl="1" indent="-342900">
              <a:buFont typeface="Symbol" panose="05050102010706020507" pitchFamily="18" charset="2"/>
              <a:buChar char="-"/>
            </a:pPr>
            <a:r>
              <a:rPr lang="de-CH" b="0" i="0" u="none" baseline="0" dirty="0">
                <a:solidFill>
                  <a:schemeClr val="tx1"/>
                </a:solidFill>
              </a:rPr>
              <a:t>Wie oft reflektieren wir über unsere Zusammenarbeit in dieser neuen (hybriden) Form?</a:t>
            </a:r>
          </a:p>
          <a:p>
            <a:pPr marL="800100" lvl="1" indent="-342900">
              <a:buFont typeface="Symbol" panose="05050102010706020507" pitchFamily="18" charset="2"/>
              <a:buChar char="-"/>
            </a:pPr>
            <a:r>
              <a:rPr lang="de-CH" b="0" i="0" u="none" baseline="0" dirty="0">
                <a:solidFill>
                  <a:schemeClr val="tx1"/>
                </a:solidFill>
              </a:rPr>
              <a:t>Welche Massnahmen ergreifen wir, um das Gefühl der Isolation oder der Unverbundenheit unter den Teammitgliedern zu bekämpfen, die von zu Hause aus oder anderweitig arbeiten?</a:t>
            </a:r>
          </a:p>
          <a:p>
            <a:pPr marL="800100" lvl="1" indent="-342900">
              <a:buFont typeface="Symbol" panose="05050102010706020507" pitchFamily="18" charset="2"/>
              <a:buChar char="-"/>
            </a:pPr>
            <a:r>
              <a:rPr lang="de-CH" b="0" i="0" u="none" baseline="0" dirty="0">
                <a:solidFill>
                  <a:schemeClr val="tx1"/>
                </a:solidFill>
              </a:rPr>
              <a:t>Wie stellen wir sicher, dass sich alle einbezogen fühlen und dass auf individuelle Bedürfnisse eingegangen wird?</a:t>
            </a:r>
          </a:p>
          <a:p>
            <a:pPr marL="800100" lvl="1" indent="-342900">
              <a:buFont typeface="Symbol" panose="05050102010706020507" pitchFamily="18" charset="2"/>
              <a:buChar char="-"/>
            </a:pPr>
            <a:r>
              <a:rPr lang="de-CH" b="0" i="0" u="none" baseline="0" dirty="0">
                <a:solidFill>
                  <a:schemeClr val="tx1"/>
                </a:solidFill>
              </a:rPr>
              <a:t>Wie können wir Möglichkeiten für soziale Interaktion und teambildende Aktivitäten schaffen, sowohl virtuell als auch persönlich?</a:t>
            </a:r>
          </a:p>
          <a:p>
            <a:pPr marL="800100" lvl="1" indent="-342900">
              <a:buFont typeface="Symbol" panose="05050102010706020507" pitchFamily="18" charset="2"/>
              <a:buChar char="-"/>
            </a:pPr>
            <a:r>
              <a:rPr lang="de-CH" b="0" i="0" u="none" baseline="0" dirty="0">
                <a:solidFill>
                  <a:schemeClr val="tx1"/>
                </a:solidFill>
              </a:rPr>
              <a:t>Wie können wir eine gesunde Work-Life-Balance im Team fördern?"</a:t>
            </a:r>
          </a:p>
        </p:txBody>
      </p:sp>
      <p:sp>
        <p:nvSpPr>
          <p:cNvPr id="9" name="Rechteck 8">
            <a:extLst>
              <a:ext uri="{FF2B5EF4-FFF2-40B4-BE49-F238E27FC236}">
                <a16:creationId xmlns:a16="http://schemas.microsoft.com/office/drawing/2014/main" id="{DAD87841-70CF-4F6D-B9E5-42EAA3A807C7}"/>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pic>
        <p:nvPicPr>
          <p:cNvPr id="26" name="Graphic 25" descr="Drawing Figure outline">
            <a:extLst>
              <a:ext uri="{FF2B5EF4-FFF2-40B4-BE49-F238E27FC236}">
                <a16:creationId xmlns:a16="http://schemas.microsoft.com/office/drawing/2014/main" id="{31E44439-1382-DDF9-F549-7C738C45232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042120" y="245133"/>
            <a:ext cx="914400" cy="914400"/>
          </a:xfrm>
          <a:prstGeom prst="rect">
            <a:avLst/>
          </a:prstGeom>
        </p:spPr>
      </p:pic>
      <p:pic>
        <p:nvPicPr>
          <p:cNvPr id="11" name="Graphic 10" descr="Drawing Figure outline">
            <a:extLst>
              <a:ext uri="{FF2B5EF4-FFF2-40B4-BE49-F238E27FC236}">
                <a16:creationId xmlns:a16="http://schemas.microsoft.com/office/drawing/2014/main" id="{ED7C954A-CDCB-8D6B-BD20-C0E69F38350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flipV="1">
            <a:off x="8746916" y="250371"/>
            <a:ext cx="914400" cy="914400"/>
          </a:xfrm>
          <a:prstGeom prst="rect">
            <a:avLst/>
          </a:prstGeom>
        </p:spPr>
      </p:pic>
      <p:sp>
        <p:nvSpPr>
          <p:cNvPr id="13" name="Rechteck 9">
            <a:extLst>
              <a:ext uri="{FF2B5EF4-FFF2-40B4-BE49-F238E27FC236}">
                <a16:creationId xmlns:a16="http://schemas.microsoft.com/office/drawing/2014/main" id="{395FE564-E77A-A062-6DE1-DDA7459467A2}"/>
              </a:ext>
            </a:extLst>
          </p:cNvPr>
          <p:cNvSpPr/>
          <p:nvPr/>
        </p:nvSpPr>
        <p:spPr>
          <a:xfrm>
            <a:off x="731835" y="4561113"/>
            <a:ext cx="10728325" cy="1034143"/>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de-CH" i="0" u="none" baseline="0" dirty="0">
                <a:solidFill>
                  <a:schemeClr val="tx1"/>
                </a:solidFill>
              </a:rPr>
              <a:t>2. Formulieren Sie innerhalb Ihrer Zweiergruppen und auf der Grundlage Ihrer Diskussion zwei Dinge, die Sie als Team in Bezug auf diese oder verwandte Themen verbessern könnten, und notieren Sie sie auf Post-</a:t>
            </a:r>
            <a:r>
              <a:rPr lang="de-CH" i="0" u="none" baseline="0" dirty="0" err="1">
                <a:solidFill>
                  <a:schemeClr val="tx1"/>
                </a:solidFill>
              </a:rPr>
              <a:t>Its</a:t>
            </a:r>
            <a:r>
              <a:rPr lang="de-CH" i="0" u="none" baseline="0" dirty="0">
                <a:solidFill>
                  <a:schemeClr val="tx1"/>
                </a:solidFill>
              </a:rPr>
              <a:t> (5 Minuten).</a:t>
            </a:r>
          </a:p>
        </p:txBody>
      </p:sp>
      <p:sp>
        <p:nvSpPr>
          <p:cNvPr id="14" name="Rechteck 9">
            <a:extLst>
              <a:ext uri="{FF2B5EF4-FFF2-40B4-BE49-F238E27FC236}">
                <a16:creationId xmlns:a16="http://schemas.microsoft.com/office/drawing/2014/main" id="{7528A58F-D640-34E7-6DA4-5A6CA1D82E0E}"/>
              </a:ext>
            </a:extLst>
          </p:cNvPr>
          <p:cNvSpPr/>
          <p:nvPr/>
        </p:nvSpPr>
        <p:spPr>
          <a:xfrm>
            <a:off x="731835" y="5595256"/>
            <a:ext cx="10728325" cy="50869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algn="l"/>
            <a:r>
              <a:rPr lang="de-CH" i="0" u="none" baseline="0" dirty="0">
                <a:solidFill>
                  <a:schemeClr val="tx1"/>
                </a:solidFill>
              </a:rPr>
              <a:t>3. Jede Zweiergruppe teilt ihre Ergebnisse mit dem Rest der Gruppe. (insgesamt 10 Minuten).</a:t>
            </a:r>
          </a:p>
        </p:txBody>
      </p:sp>
    </p:spTree>
    <p:extLst>
      <p:ext uri="{BB962C8B-B14F-4D97-AF65-F5344CB8AC3E}">
        <p14:creationId xmlns:p14="http://schemas.microsoft.com/office/powerpoint/2010/main" val="1151615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FC14056-3291-216C-B428-AFA1A2516319}"/>
              </a:ext>
            </a:extLst>
          </p:cNvPr>
          <p:cNvGraphicFramePr>
            <a:graphicFrameLocks noChangeAspect="1"/>
          </p:cNvGraphicFramePr>
          <p:nvPr>
            <p:custDataLst>
              <p:tags r:id="rId1"/>
            </p:custDataLst>
            <p:extLst>
              <p:ext uri="{D42A27DB-BD31-4B8C-83A1-F6EECF244321}">
                <p14:modId xmlns:p14="http://schemas.microsoft.com/office/powerpoint/2010/main" val="2956884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5FC14056-3291-216C-B428-AFA1A251631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2543CB6-7CCE-4092-94E2-1F9AF86C92CD}"/>
              </a:ext>
            </a:extLst>
          </p:cNvPr>
          <p:cNvSpPr>
            <a:spLocks noGrp="1"/>
          </p:cNvSpPr>
          <p:nvPr>
            <p:ph type="title"/>
          </p:nvPr>
        </p:nvSpPr>
        <p:spPr/>
        <p:txBody>
          <a:bodyPr vert="horz"/>
          <a:lstStyle/>
          <a:p>
            <a:pPr algn="l"/>
            <a:r>
              <a:rPr lang="de-CH" b="0" i="0" u="none" baseline="0" dirty="0"/>
              <a:t>Schwerpunktthemen dieses Workshops</a:t>
            </a:r>
          </a:p>
        </p:txBody>
      </p:sp>
      <p:sp>
        <p:nvSpPr>
          <p:cNvPr id="3" name="Inhaltsplatzhalter 2">
            <a:extLst>
              <a:ext uri="{FF2B5EF4-FFF2-40B4-BE49-F238E27FC236}">
                <a16:creationId xmlns:a16="http://schemas.microsoft.com/office/drawing/2014/main" id="{E9BBD3EE-C606-408E-8853-A8E4F45E02CE}"/>
              </a:ext>
            </a:extLst>
          </p:cNvPr>
          <p:cNvSpPr>
            <a:spLocks noGrp="1"/>
          </p:cNvSpPr>
          <p:nvPr>
            <p:ph idx="1"/>
          </p:nvPr>
        </p:nvSpPr>
        <p:spPr/>
        <p:txBody>
          <a:bodyPr/>
          <a:lstStyle/>
          <a:p>
            <a:pPr marL="285750" indent="-285750" algn="l">
              <a:spcBef>
                <a:spcPts val="1800"/>
              </a:spcBef>
              <a:buFont typeface="Arial" panose="020B0604020202020204" pitchFamily="34" charset="0"/>
              <a:buChar char="•"/>
            </a:pPr>
            <a:r>
              <a:rPr lang="de-CH" sz="1600" b="1" i="0" u="none" baseline="0" dirty="0"/>
              <a:t>Vorteile der Hybridarbeit: </a:t>
            </a:r>
            <a:r>
              <a:rPr lang="de-CH" sz="1600" b="0" i="0" u="none" baseline="0" dirty="0"/>
              <a:t>Hybride Arbeitsformen bringen mehrere Vorteile mit sich, wie z.B. geringere Pendelzeiten und -kosten, grössere Flexibilität bei der Planung von Arbeit und persönlichen Verpflichtungen, höhere Produktivität und Motivation sowie einen geringeren Platzbedarf im Büro. Dennoch kann hybrides Arbeiten auch eine Herausforderung sein. Wenn Teammitglieder aus der Ferne arbeiten, kann es zu Problemen bei der Kommunikation und Zusammenarbeit kommen. </a:t>
            </a:r>
          </a:p>
          <a:p>
            <a:pPr marL="285750" indent="-285750" algn="l">
              <a:spcBef>
                <a:spcPts val="1800"/>
              </a:spcBef>
              <a:buFont typeface="Arial" panose="020B0604020202020204" pitchFamily="34" charset="0"/>
              <a:buChar char="•"/>
            </a:pPr>
            <a:r>
              <a:rPr lang="de-CH" sz="1600" b="1" i="0" u="none" baseline="0" dirty="0"/>
              <a:t>Die Wichtigkeit eines Teamkonsenses: </a:t>
            </a:r>
            <a:r>
              <a:rPr lang="de-CH" sz="1600" b="0" i="0" u="none" baseline="0" dirty="0"/>
              <a:t>Um die Feinheiten der hybriden Arbeit effektiv zu meistern, müssen Führungskräfte und ihre Teams unbedingt ein gemeinsames Verständnis für eine erfolgreiche hybride Zusammenarbeit entwickeln. Dies kann durch die Entwicklung eines Teamkonsenses erreicht werden, bei dem die Erwartungen und Vereinbarungen in Bezug auf hybride Arbeitsvereinbarungen gemeinsam definiert werden.</a:t>
            </a:r>
          </a:p>
          <a:p>
            <a:pPr marL="285750" indent="-285750" algn="l">
              <a:spcBef>
                <a:spcPts val="1800"/>
              </a:spcBef>
              <a:buFont typeface="Arial" panose="020B0604020202020204" pitchFamily="34" charset="0"/>
              <a:buChar char="•"/>
            </a:pPr>
            <a:r>
              <a:rPr lang="de-CH" sz="1600" b="1" i="0" u="none" baseline="0" dirty="0"/>
              <a:t>Ein Gleichgewicht zwischen Formalität und Informalität finden: </a:t>
            </a:r>
            <a:r>
              <a:rPr lang="de-CH" sz="1600" b="0" i="0" u="none" baseline="0" dirty="0"/>
              <a:t>Effektives Management in einem hybriden Arbeitsumfeld erfordert ein harmonisches Gleichgewicht zwischen Formalität, die durch Strukturen und Prozesse gekennzeichnet ist, und Informalität, die durch die soziale Dynamik innerhalb von Organisationen bestimmt wird. Teams müssen sich mit diesem Gleichgewicht auseinandersetzen, um ihre eigene Kultur zu gestalten und ein Gefühl der Teamarbeit und Zugehörigkeit aufrechtzuerhalten, auch in hybriden Arbeitsumgebungen.</a:t>
            </a:r>
          </a:p>
        </p:txBody>
      </p:sp>
      <p:sp>
        <p:nvSpPr>
          <p:cNvPr id="4" name="Datumsplatzhalter 3">
            <a:extLst>
              <a:ext uri="{FF2B5EF4-FFF2-40B4-BE49-F238E27FC236}">
                <a16:creationId xmlns:a16="http://schemas.microsoft.com/office/drawing/2014/main" id="{5E02C3D0-A359-4178-9EFD-2A2F1CCA3032}"/>
              </a:ext>
            </a:extLst>
          </p:cNvPr>
          <p:cNvSpPr>
            <a:spLocks noGrp="1"/>
          </p:cNvSpPr>
          <p:nvPr>
            <p:ph type="dt" sz="half" idx="10"/>
          </p:nvPr>
        </p:nvSpPr>
        <p:spPr/>
        <p:txBody>
          <a:bodyPr/>
          <a:lstStyle/>
          <a:p>
            <a:pPr algn="l"/>
            <a:fld id="{605CC8EB-FFFA-470D-BAD3-E01C9641EB6D}" type="datetime1">
              <a:rPr lang="de-CH" smtClean="0"/>
              <a:t>29.02.2024</a:t>
            </a:fld>
            <a:endParaRPr lang="de-CH" noProof="0" dirty="0"/>
          </a:p>
        </p:txBody>
      </p:sp>
      <p:sp>
        <p:nvSpPr>
          <p:cNvPr id="5" name="Fußzeilenplatzhalter 4">
            <a:extLst>
              <a:ext uri="{FF2B5EF4-FFF2-40B4-BE49-F238E27FC236}">
                <a16:creationId xmlns:a16="http://schemas.microsoft.com/office/drawing/2014/main" id="{0DF16D9C-E39F-48C7-B71A-BE99D6CB0F36}"/>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9D80BE71-A9EF-4DB5-8695-34039A31964C}"/>
              </a:ext>
            </a:extLst>
          </p:cNvPr>
          <p:cNvSpPr>
            <a:spLocks noGrp="1"/>
          </p:cNvSpPr>
          <p:nvPr>
            <p:ph type="sldNum" sz="quarter" idx="12"/>
          </p:nvPr>
        </p:nvSpPr>
        <p:spPr/>
        <p:txBody>
          <a:bodyPr/>
          <a:lstStyle/>
          <a:p>
            <a:pPr algn="r"/>
            <a:fld id="{5ACA52AF-F19D-405C-AD5F-7D94B96A5CC3}" type="slidenum">
              <a:rPr lang="de-CH" smtClean="0"/>
              <a:pPr algn="r"/>
              <a:t>3</a:t>
            </a:fld>
            <a:endParaRPr lang="de-CH" noProof="0" dirty="0"/>
          </a:p>
        </p:txBody>
      </p:sp>
      <p:sp>
        <p:nvSpPr>
          <p:cNvPr id="7" name="Rechteck 6">
            <a:extLst>
              <a:ext uri="{FF2B5EF4-FFF2-40B4-BE49-F238E27FC236}">
                <a16:creationId xmlns:a16="http://schemas.microsoft.com/office/drawing/2014/main" id="{E00086F2-3B9A-4050-BCCD-632B815B626F}"/>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1765676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EFD790E-C509-15F3-A548-0254A67D74B6}"/>
              </a:ext>
            </a:extLst>
          </p:cNvPr>
          <p:cNvGraphicFramePr>
            <a:graphicFrameLocks noChangeAspect="1"/>
          </p:cNvGraphicFramePr>
          <p:nvPr>
            <p:custDataLst>
              <p:tags r:id="rId1"/>
            </p:custDataLst>
            <p:extLst>
              <p:ext uri="{D42A27DB-BD31-4B8C-83A1-F6EECF244321}">
                <p14:modId xmlns:p14="http://schemas.microsoft.com/office/powerpoint/2010/main" val="1205405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EFD790E-C509-15F3-A548-0254A67D7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pPr algn="l"/>
            <a:r>
              <a:rPr lang="de-CH" b="0" i="0" u="none" baseline="0" dirty="0">
                <a:latin typeface="Arial"/>
                <a:ea typeface="Arial"/>
                <a:cs typeface="Arial"/>
              </a:rPr>
              <a:t>Ablauf</a:t>
            </a:r>
          </a:p>
        </p:txBody>
      </p:sp>
      <p:sp>
        <p:nvSpPr>
          <p:cNvPr id="9" name="Inhaltsplatzhalter 2">
            <a:extLst>
              <a:ext uri="{FF2B5EF4-FFF2-40B4-BE49-F238E27FC236}">
                <a16:creationId xmlns:a16="http://schemas.microsoft.com/office/drawing/2014/main" id="{B6B24EFB-329E-4BDB-8682-2837E8093CA9}"/>
              </a:ext>
            </a:extLst>
          </p:cNvPr>
          <p:cNvSpPr>
            <a:spLocks noGrp="1"/>
          </p:cNvSpPr>
          <p:nvPr>
            <p:ph idx="1"/>
          </p:nvPr>
        </p:nvSpPr>
        <p:spPr/>
        <p:txBody>
          <a:bodyPr/>
          <a:lstStyle/>
          <a:p>
            <a:endParaRPr lang="de-CH" dirty="0"/>
          </a:p>
        </p:txBody>
      </p:sp>
      <p:sp>
        <p:nvSpPr>
          <p:cNvPr id="4" name="Datumsplatzhalter 3"/>
          <p:cNvSpPr>
            <a:spLocks noGrp="1"/>
          </p:cNvSpPr>
          <p:nvPr>
            <p:ph type="dt" sz="half" idx="10"/>
          </p:nvPr>
        </p:nvSpPr>
        <p:spPr/>
        <p:txBody>
          <a:bodyPr/>
          <a:lstStyle/>
          <a:p>
            <a:pPr algn="l"/>
            <a:fld id="{3D80AB97-1058-47F4-B448-472384C53271}"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30</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618184896"/>
              </p:ext>
            </p:extLst>
          </p:nvPr>
        </p:nvGraphicFramePr>
        <p:xfrm>
          <a:off x="731837" y="1412873"/>
          <a:ext cx="10728324" cy="4680000"/>
        </p:xfrm>
        <a:graphic>
          <a:graphicData uri="http://schemas.openxmlformats.org/drawingml/2006/table">
            <a:tbl>
              <a:tblPr firstRow="1" bandRow="1">
                <a:tableStyleId>{5C22544A-7EE6-4342-B048-85BDC9FD1C3A}</a:tableStyleId>
              </a:tblPr>
              <a:tblGrid>
                <a:gridCol w="2199837">
                  <a:extLst>
                    <a:ext uri="{9D8B030D-6E8A-4147-A177-3AD203B41FA5}">
                      <a16:colId xmlns:a16="http://schemas.microsoft.com/office/drawing/2014/main" val="1714132888"/>
                    </a:ext>
                  </a:extLst>
                </a:gridCol>
                <a:gridCol w="8528487">
                  <a:extLst>
                    <a:ext uri="{9D8B030D-6E8A-4147-A177-3AD203B41FA5}">
                      <a16:colId xmlns:a16="http://schemas.microsoft.com/office/drawing/2014/main" val="1802429230"/>
                    </a:ext>
                  </a:extLst>
                </a:gridCol>
              </a:tblGrid>
              <a:tr h="624000">
                <a:tc>
                  <a:txBody>
                    <a:bodyPr/>
                    <a:lstStyle/>
                    <a:p>
                      <a:pPr marL="0" algn="l" rtl="0" eaLnBrk="1" latinLnBrk="0" hangingPunct="1">
                        <a:spcBef>
                          <a:spcPts val="0"/>
                        </a:spcBef>
                        <a:spcAft>
                          <a:spcPts val="0"/>
                        </a:spcAft>
                      </a:pPr>
                      <a:r>
                        <a:rPr lang="de-CH" sz="1600" b="1" i="0" u="none" kern="1200" baseline="0" noProof="0">
                          <a:effectLst/>
                        </a:rPr>
                        <a:t>Zeit</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Agenda Punkt</a:t>
                      </a:r>
                      <a:endParaRPr lang="de-CH" sz="1600" noProof="0" dirty="0">
                        <a:effectLst/>
                      </a:endParaRPr>
                    </a:p>
                  </a:txBody>
                  <a:tcPr marL="72000" marR="0" marT="0" marB="0" anchor="ctr"/>
                </a:tc>
                <a:extLst>
                  <a:ext uri="{0D108BD9-81ED-4DB2-BD59-A6C34878D82A}">
                    <a16:rowId xmlns:a16="http://schemas.microsoft.com/office/drawing/2014/main" val="4223331645"/>
                  </a:ext>
                </a:extLst>
              </a:tr>
              <a:tr h="572000">
                <a:tc>
                  <a:txBody>
                    <a:bodyPr/>
                    <a:lstStyle/>
                    <a:p>
                      <a:pPr marL="0" algn="l" rtl="0" eaLnBrk="1" latinLnBrk="0" hangingPunct="1">
                        <a:spcBef>
                          <a:spcPts val="0"/>
                        </a:spcBef>
                        <a:spcAft>
                          <a:spcPts val="0"/>
                        </a:spcAft>
                      </a:pPr>
                      <a:r>
                        <a:rPr lang="de-CH" sz="1600" b="0" i="0" u="none" kern="1200" baseline="0" dirty="0">
                          <a:effectLst/>
                        </a:rPr>
                        <a:t>10 Min.</a:t>
                      </a:r>
                      <a:endParaRPr lang="de-CH" sz="16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600" b="0" i="0" u="none" kern="1200" baseline="0" dirty="0">
                          <a:effectLst/>
                        </a:rPr>
                        <a:t>Willkommen &amp; Einführung</a:t>
                      </a:r>
                      <a:endParaRPr lang="de-CH" sz="1600" noProof="0" dirty="0">
                        <a:effectLst/>
                      </a:endParaRPr>
                    </a:p>
                  </a:txBody>
                  <a:tcPr marL="72000" marR="0" marT="0" marB="0" anchor="ctr"/>
                </a:tc>
                <a:extLst>
                  <a:ext uri="{0D108BD9-81ED-4DB2-BD59-A6C34878D82A}">
                    <a16:rowId xmlns:a16="http://schemas.microsoft.com/office/drawing/2014/main" val="4208406674"/>
                  </a:ext>
                </a:extLst>
              </a:tr>
              <a:tr h="572000">
                <a:tc>
                  <a:txBody>
                    <a:bodyPr/>
                    <a:lstStyle/>
                    <a:p>
                      <a:pPr marL="0" algn="l" rtl="0" eaLnBrk="1" latinLnBrk="0" hangingPunct="1">
                        <a:spcBef>
                          <a:spcPts val="0"/>
                        </a:spcBef>
                        <a:spcAft>
                          <a:spcPts val="0"/>
                        </a:spcAft>
                      </a:pPr>
                      <a:r>
                        <a:rPr lang="de-CH" sz="1600" b="0" i="0" u="none" kern="1200" baseline="0">
                          <a:effectLst/>
                        </a:rPr>
                        <a:t>2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kern="1200" baseline="0">
                          <a:effectLst/>
                        </a:rPr>
                        <a:t>Check-in</a:t>
                      </a:r>
                      <a:endParaRPr lang="de-CH" sz="1600" b="0" i="0" u="none" kern="1200" baseline="0" dirty="0">
                        <a:effectLst/>
                      </a:endParaRPr>
                    </a:p>
                  </a:txBody>
                  <a:tcPr marL="72000" marR="0" marT="0" marB="0" anchor="ctr"/>
                </a:tc>
                <a:extLst>
                  <a:ext uri="{0D108BD9-81ED-4DB2-BD59-A6C34878D82A}">
                    <a16:rowId xmlns:a16="http://schemas.microsoft.com/office/drawing/2014/main" val="2837530008"/>
                  </a:ext>
                </a:extLst>
              </a:tr>
              <a:tr h="624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0" i="0" u="none" baseline="0" dirty="0"/>
                        <a:t>Zusammenarbeit</a:t>
                      </a:r>
                      <a:endParaRPr lang="de-CH" sz="1600" b="0" i="0" u="none" kern="1200" baseline="0" dirty="0">
                        <a:effectLst/>
                      </a:endParaRPr>
                    </a:p>
                  </a:txBody>
                  <a:tcPr marL="72000" marR="0" marT="0" marB="0" anchor="ctr"/>
                </a:tc>
                <a:extLst>
                  <a:ext uri="{0D108BD9-81ED-4DB2-BD59-A6C34878D82A}">
                    <a16:rowId xmlns:a16="http://schemas.microsoft.com/office/drawing/2014/main" val="503110164"/>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ielerreichung</a:t>
                      </a:r>
                    </a:p>
                  </a:txBody>
                  <a:tcPr marL="72000" marR="0" marT="0" marB="0" anchor="ctr"/>
                </a:tc>
                <a:extLst>
                  <a:ext uri="{0D108BD9-81ED-4DB2-BD59-A6C34878D82A}">
                    <a16:rowId xmlns:a16="http://schemas.microsoft.com/office/drawing/2014/main" val="4278321526"/>
                  </a:ext>
                </a:extLst>
              </a:tr>
              <a:tr h="572000">
                <a:tc>
                  <a:txBody>
                    <a:bodyPr/>
                    <a:lstStyle/>
                    <a:p>
                      <a:pPr marL="0" lvl="0" algn="l" rtl="0">
                        <a:spcBef>
                          <a:spcPts val="0"/>
                        </a:spcBef>
                        <a:spcAft>
                          <a:spcPts val="0"/>
                        </a:spcAft>
                        <a:buNone/>
                      </a:pPr>
                      <a:r>
                        <a:rPr lang="de-CH" sz="1600" b="0" i="0" u="none" kern="1200" baseline="0" dirty="0">
                          <a:effectLst/>
                        </a:rPr>
                        <a:t>10 Min.</a:t>
                      </a:r>
                    </a:p>
                  </a:txBody>
                  <a:tcPr marL="72000" marR="0" marT="0" marB="0" anchor="ctr"/>
                </a:tc>
                <a:tc>
                  <a:txBody>
                    <a:bodyPr/>
                    <a:lstStyle/>
                    <a:p>
                      <a:pPr marL="0" lvl="0" algn="l" rtl="0">
                        <a:spcBef>
                          <a:spcPts val="0"/>
                        </a:spcBef>
                        <a:spcAft>
                          <a:spcPts val="0"/>
                        </a:spcAft>
                        <a:buNone/>
                      </a:pPr>
                      <a:r>
                        <a:rPr lang="de-CH" sz="1600" b="0" i="0" u="none" kern="1200" baseline="0">
                          <a:effectLst/>
                        </a:rPr>
                        <a:t>Break</a:t>
                      </a:r>
                      <a:endParaRPr lang="de-CH" sz="1600" b="0" i="0" u="none" kern="1200" baseline="0" dirty="0">
                        <a:effectLst/>
                      </a:endParaRPr>
                    </a:p>
                  </a:txBody>
                  <a:tcPr marL="72000" marR="0" marT="0" marB="0" anchor="ctr"/>
                </a:tc>
                <a:extLst>
                  <a:ext uri="{0D108BD9-81ED-4DB2-BD59-A6C34878D82A}">
                    <a16:rowId xmlns:a16="http://schemas.microsoft.com/office/drawing/2014/main" val="2902014262"/>
                  </a:ext>
                </a:extLst>
              </a:tr>
              <a:tr h="572000">
                <a:tc>
                  <a:txBody>
                    <a:bodyPr/>
                    <a:lstStyle/>
                    <a:p>
                      <a:pPr marL="0" algn="l" rtl="0" eaLnBrk="1" latinLnBrk="0" hangingPunct="1">
                        <a:spcBef>
                          <a:spcPts val="0"/>
                        </a:spcBef>
                        <a:spcAft>
                          <a:spcPts val="0"/>
                        </a:spcAft>
                      </a:pPr>
                      <a:r>
                        <a:rPr lang="de-CH" sz="1600" b="0" i="0" u="none" kern="1200" baseline="0" dirty="0">
                          <a:effectLst/>
                        </a:rPr>
                        <a:t>30 Min.</a:t>
                      </a:r>
                      <a:endParaRPr lang="de-CH" sz="1600" noProof="0" dirty="0">
                        <a:effectLst/>
                      </a:endParaRPr>
                    </a:p>
                  </a:txBody>
                  <a:tcPr marL="72000" marR="0" marT="0" marB="0" anchor="ctr"/>
                </a:tc>
                <a:tc>
                  <a:txBody>
                    <a:bodyPr/>
                    <a:lstStyle/>
                    <a:p>
                      <a:pPr marL="0" indent="0" algn="l" rtl="0" eaLnBrk="1" latinLnBrk="0" hangingPunct="1">
                        <a:spcBef>
                          <a:spcPts val="0"/>
                        </a:spcBef>
                        <a:spcAft>
                          <a:spcPts val="0"/>
                        </a:spcAft>
                      </a:pPr>
                      <a:r>
                        <a:rPr lang="de-CH" sz="1600" b="0" i="0" u="none" kern="1200" baseline="0" dirty="0">
                          <a:effectLst/>
                        </a:rPr>
                        <a:t>Zusammenhalt und Wohlbefinden im Team</a:t>
                      </a:r>
                    </a:p>
                  </a:txBody>
                  <a:tcPr marL="72000" marR="0" marT="0" marB="0" anchor="ctr"/>
                </a:tc>
                <a:extLst>
                  <a:ext uri="{0D108BD9-81ED-4DB2-BD59-A6C34878D82A}">
                    <a16:rowId xmlns:a16="http://schemas.microsoft.com/office/drawing/2014/main" val="4183937973"/>
                  </a:ext>
                </a:extLst>
              </a:tr>
              <a:tr h="572000">
                <a:tc>
                  <a:txBody>
                    <a:bodyPr/>
                    <a:lstStyle/>
                    <a:p>
                      <a:pPr marL="0" lvl="0" algn="l" rtl="0">
                        <a:spcBef>
                          <a:spcPts val="0"/>
                        </a:spcBef>
                        <a:spcAft>
                          <a:spcPts val="0"/>
                        </a:spcAft>
                        <a:buNone/>
                      </a:pPr>
                      <a:r>
                        <a:rPr lang="de-CH" sz="1600" b="0" i="0" u="none" kern="1200" baseline="0" dirty="0">
                          <a:solidFill>
                            <a:schemeClr val="bg1"/>
                          </a:solidFill>
                          <a:effectLst/>
                        </a:rPr>
                        <a:t>20 Min.</a:t>
                      </a:r>
                      <a:endParaRPr lang="de-CH" sz="1600" noProof="0" dirty="0">
                        <a:solidFill>
                          <a:schemeClr val="bg1"/>
                        </a:solidFill>
                      </a:endParaRPr>
                    </a:p>
                  </a:txBody>
                  <a:tcPr marL="72000" marR="0" marT="0" marB="0" anchor="ctr">
                    <a:solidFill>
                      <a:schemeClr val="accent2"/>
                    </a:solidFill>
                  </a:tcPr>
                </a:tc>
                <a:tc>
                  <a:txBody>
                    <a:bodyPr/>
                    <a:lstStyle/>
                    <a:p>
                      <a:pPr marL="0" algn="l" rtl="0" eaLnBrk="1" latinLnBrk="0" hangingPunct="1">
                        <a:spcBef>
                          <a:spcPts val="0"/>
                        </a:spcBef>
                        <a:spcAft>
                          <a:spcPts val="0"/>
                        </a:spcAft>
                      </a:pPr>
                      <a:r>
                        <a:rPr lang="de-CH" sz="1600" b="0" i="0" u="none" kern="1200" baseline="0" dirty="0">
                          <a:solidFill>
                            <a:schemeClr val="bg1"/>
                          </a:solidFill>
                          <a:effectLst/>
                        </a:rPr>
                        <a:t>Check-out &amp; Verabschiedung</a:t>
                      </a:r>
                    </a:p>
                  </a:txBody>
                  <a:tcPr marL="72000" marR="0" marT="0" marB="0" anchor="ctr">
                    <a:solidFill>
                      <a:schemeClr val="accent2"/>
                    </a:solidFill>
                  </a:tcPr>
                </a:tc>
                <a:extLst>
                  <a:ext uri="{0D108BD9-81ED-4DB2-BD59-A6C34878D82A}">
                    <a16:rowId xmlns:a16="http://schemas.microsoft.com/office/drawing/2014/main" val="3205623312"/>
                  </a:ext>
                </a:extLst>
              </a:tr>
            </a:tbl>
          </a:graphicData>
        </a:graphic>
      </p:graphicFrame>
      <p:sp>
        <p:nvSpPr>
          <p:cNvPr id="11" name="Rechteck 10">
            <a:extLst>
              <a:ext uri="{FF2B5EF4-FFF2-40B4-BE49-F238E27FC236}">
                <a16:creationId xmlns:a16="http://schemas.microsoft.com/office/drawing/2014/main" id="{5EE19B10-BD32-4855-BF14-2D427D1BFDF4}"/>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32151933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5CEC7E4B-C0D8-8565-2536-A0AED66D6795}"/>
              </a:ext>
            </a:extLst>
          </p:cNvPr>
          <p:cNvGraphicFramePr>
            <a:graphicFrameLocks noChangeAspect="1"/>
          </p:cNvGraphicFramePr>
          <p:nvPr>
            <p:custDataLst>
              <p:tags r:id="rId1"/>
            </p:custDataLst>
            <p:extLst>
              <p:ext uri="{D42A27DB-BD31-4B8C-83A1-F6EECF244321}">
                <p14:modId xmlns:p14="http://schemas.microsoft.com/office/powerpoint/2010/main" val="1891887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5CEC7E4B-C0D8-8565-2536-A0AED66D67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C65B3EF-08EF-432C-BEBF-CB2B499FB533}"/>
              </a:ext>
            </a:extLst>
          </p:cNvPr>
          <p:cNvSpPr>
            <a:spLocks noGrp="1"/>
          </p:cNvSpPr>
          <p:nvPr>
            <p:ph type="title"/>
          </p:nvPr>
        </p:nvSpPr>
        <p:spPr/>
        <p:txBody>
          <a:bodyPr vert="horz"/>
          <a:lstStyle/>
          <a:p>
            <a:pPr algn="l"/>
            <a:r>
              <a:rPr lang="de-CH" b="0" i="0" u="none" baseline="0" dirty="0"/>
              <a:t>Check-out &amp; nächste Schritte (Beispielübung)</a:t>
            </a:r>
          </a:p>
        </p:txBody>
      </p:sp>
      <p:sp>
        <p:nvSpPr>
          <p:cNvPr id="3" name="Content Placeholder 2">
            <a:extLst>
              <a:ext uri="{FF2B5EF4-FFF2-40B4-BE49-F238E27FC236}">
                <a16:creationId xmlns:a16="http://schemas.microsoft.com/office/drawing/2014/main" id="{D248A836-D270-48AC-93BC-E789F2E8E734}"/>
              </a:ext>
            </a:extLst>
          </p:cNvPr>
          <p:cNvSpPr>
            <a:spLocks noGrp="1"/>
          </p:cNvSpPr>
          <p:nvPr>
            <p:ph idx="1"/>
          </p:nvPr>
        </p:nvSpPr>
        <p:spPr>
          <a:xfrm>
            <a:off x="731836" y="1412875"/>
            <a:ext cx="6191478" cy="4680000"/>
          </a:xfrm>
        </p:spPr>
        <p:txBody>
          <a:bodyPr vert="horz" lIns="0" tIns="0" rIns="0" bIns="0" rtlCol="0" anchor="t">
            <a:noAutofit/>
          </a:bodyPr>
          <a:lstStyle/>
          <a:p>
            <a:pPr marL="269875" indent="-269875"/>
            <a:r>
              <a:rPr lang="de-CH" sz="1800" dirty="0">
                <a:latin typeface="Arial"/>
                <a:cs typeface="Arial"/>
              </a:rPr>
              <a:t>Betrachten Sie Ihre Ergebnisse aus den vorangegangenen Übungen und den Diskussionen, die im Team geführt wurden. Welche </a:t>
            </a:r>
            <a:r>
              <a:rPr lang="de-CH" sz="1800">
                <a:latin typeface="Arial"/>
                <a:cs typeface="Arial"/>
              </a:rPr>
              <a:t>3 Massnahmen </a:t>
            </a:r>
            <a:r>
              <a:rPr lang="de-CH" sz="1800" dirty="0">
                <a:latin typeface="Arial"/>
                <a:cs typeface="Arial"/>
              </a:rPr>
              <a:t>möchten Sie ergreifen? (Jede Person wird gebeten, 3 Aufkleber auf die Aktionen zu kleben, die sie für am wichtigsten hält, 5 Minuten).</a:t>
            </a:r>
          </a:p>
          <a:p>
            <a:pPr marL="269875" indent="-269875"/>
            <a:endParaRPr lang="de-CH" sz="1800" dirty="0">
              <a:latin typeface="Arial"/>
              <a:cs typeface="Arial"/>
            </a:endParaRPr>
          </a:p>
          <a:p>
            <a:pPr marL="269875" indent="-269875"/>
            <a:r>
              <a:rPr lang="de-CH" sz="1800" dirty="0">
                <a:latin typeface="Arial"/>
                <a:cs typeface="Arial"/>
              </a:rPr>
              <a:t>Wählen Sie die Handlungen aus, die die meisten Stimmen erhalten haben, und legen Sie die nächsten Schritte fest (10 Minuten).</a:t>
            </a:r>
          </a:p>
          <a:p>
            <a:pPr marL="269875" indent="-269875"/>
            <a:endParaRPr lang="de-CH" sz="1800" dirty="0">
              <a:latin typeface="Arial"/>
              <a:cs typeface="Arial"/>
            </a:endParaRPr>
          </a:p>
          <a:p>
            <a:pPr marL="269875" indent="-269875"/>
            <a:r>
              <a:rPr lang="de-CH" sz="1800" dirty="0">
                <a:latin typeface="Arial"/>
                <a:cs typeface="Arial"/>
              </a:rPr>
              <a:t>Besprechen Sie, wie das Team die Wirkung der Aktionen überprüfen und gegebenenfalls anpassen wird (5 Minuten).</a:t>
            </a:r>
            <a:endParaRPr lang="de-CH" b="0" i="0" u="none" baseline="0" dirty="0">
              <a:latin typeface="Arial"/>
              <a:ea typeface="Arial"/>
              <a:cs typeface="Arial"/>
            </a:endParaRPr>
          </a:p>
          <a:p>
            <a:pPr marL="269875" indent="-269875" algn="l"/>
            <a:endParaRPr lang="de-CH" dirty="0">
              <a:latin typeface="Arial"/>
              <a:ea typeface="Arial"/>
              <a:cs typeface="Arial"/>
            </a:endParaRPr>
          </a:p>
          <a:p>
            <a:pPr marL="269875" indent="-269875" algn="l"/>
            <a:endParaRPr lang="de-CH" b="0" i="0" u="none" baseline="0" dirty="0">
              <a:latin typeface="Arial"/>
              <a:ea typeface="Arial"/>
              <a:cs typeface="Arial"/>
            </a:endParaRPr>
          </a:p>
          <a:p>
            <a:pPr marL="269875" indent="-269875" algn="l"/>
            <a:endParaRPr lang="de-CH" dirty="0">
              <a:cs typeface="Arial"/>
            </a:endParaRPr>
          </a:p>
          <a:p>
            <a:pPr marL="0" indent="0" algn="l">
              <a:buNone/>
            </a:pPr>
            <a:endParaRPr lang="de-CH" sz="1600" b="1" dirty="0">
              <a:cs typeface="Arial"/>
            </a:endParaRPr>
          </a:p>
          <a:p>
            <a:pPr marL="0" indent="0" algn="l">
              <a:buNone/>
            </a:pPr>
            <a:endParaRPr lang="de-CH" sz="1600" b="1" dirty="0">
              <a:cs typeface="Arial"/>
            </a:endParaRPr>
          </a:p>
          <a:p>
            <a:pPr marL="0" indent="0" algn="l">
              <a:buNone/>
            </a:pPr>
            <a:endParaRPr lang="de-CH" sz="1600" b="1" dirty="0">
              <a:cs typeface="Arial"/>
            </a:endParaRPr>
          </a:p>
        </p:txBody>
      </p:sp>
      <p:sp>
        <p:nvSpPr>
          <p:cNvPr id="4" name="Date Placeholder 3">
            <a:extLst>
              <a:ext uri="{FF2B5EF4-FFF2-40B4-BE49-F238E27FC236}">
                <a16:creationId xmlns:a16="http://schemas.microsoft.com/office/drawing/2014/main" id="{305442D0-14ED-4C2A-A91B-14866EB77D60}"/>
              </a:ext>
            </a:extLst>
          </p:cNvPr>
          <p:cNvSpPr>
            <a:spLocks noGrp="1"/>
          </p:cNvSpPr>
          <p:nvPr>
            <p:ph type="dt" sz="half" idx="10"/>
          </p:nvPr>
        </p:nvSpPr>
        <p:spPr/>
        <p:txBody>
          <a:bodyPr/>
          <a:lstStyle/>
          <a:p>
            <a:pPr algn="l"/>
            <a:fld id="{489F9A79-0B87-4AB7-84E0-5C4A84B59F2E}" type="datetime1">
              <a:rPr lang="de-CH" smtClean="0"/>
              <a:t>29.02.2024</a:t>
            </a:fld>
            <a:endParaRPr lang="de-CH" noProof="0" dirty="0"/>
          </a:p>
        </p:txBody>
      </p:sp>
      <p:sp>
        <p:nvSpPr>
          <p:cNvPr id="5" name="Footer Placeholder 4">
            <a:extLst>
              <a:ext uri="{FF2B5EF4-FFF2-40B4-BE49-F238E27FC236}">
                <a16:creationId xmlns:a16="http://schemas.microsoft.com/office/drawing/2014/main" id="{B057CD9C-7E82-4EE5-8D4A-CF1F831FF9E4}"/>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Slide Number Placeholder 5">
            <a:extLst>
              <a:ext uri="{FF2B5EF4-FFF2-40B4-BE49-F238E27FC236}">
                <a16:creationId xmlns:a16="http://schemas.microsoft.com/office/drawing/2014/main" id="{727CB4E9-0DB2-4603-A8AD-72263838A1CA}"/>
              </a:ext>
            </a:extLst>
          </p:cNvPr>
          <p:cNvSpPr>
            <a:spLocks noGrp="1"/>
          </p:cNvSpPr>
          <p:nvPr>
            <p:ph type="sldNum" sz="quarter" idx="12"/>
          </p:nvPr>
        </p:nvSpPr>
        <p:spPr/>
        <p:txBody>
          <a:bodyPr/>
          <a:lstStyle/>
          <a:p>
            <a:pPr algn="r"/>
            <a:fld id="{5ACA52AF-F19D-405C-AD5F-7D94B96A5CC3}" type="slidenum">
              <a:rPr lang="de-CH" smtClean="0"/>
              <a:pPr algn="r"/>
              <a:t>31</a:t>
            </a:fld>
            <a:endParaRPr lang="de-CH" noProof="0" dirty="0"/>
          </a:p>
        </p:txBody>
      </p:sp>
      <p:pic>
        <p:nvPicPr>
          <p:cNvPr id="8" name="Picture 7">
            <a:extLst>
              <a:ext uri="{FF2B5EF4-FFF2-40B4-BE49-F238E27FC236}">
                <a16:creationId xmlns:a16="http://schemas.microsoft.com/office/drawing/2014/main" id="{A6706CC3-8947-4813-8BE0-CC4FF62607E1}"/>
              </a:ext>
            </a:extLst>
          </p:cNvPr>
          <p:cNvPicPr>
            <a:picLocks noChangeAspect="1"/>
          </p:cNvPicPr>
          <p:nvPr/>
        </p:nvPicPr>
        <p:blipFill>
          <a:blip r:embed="rId6"/>
          <a:srcRect/>
          <a:stretch/>
        </p:blipFill>
        <p:spPr>
          <a:xfrm>
            <a:off x="7808758" y="1160351"/>
            <a:ext cx="3436315" cy="5155324"/>
          </a:xfrm>
          <a:prstGeom prst="rect">
            <a:avLst/>
          </a:prstGeom>
        </p:spPr>
      </p:pic>
      <p:sp>
        <p:nvSpPr>
          <p:cNvPr id="9" name="Rechteck 8">
            <a:extLst>
              <a:ext uri="{FF2B5EF4-FFF2-40B4-BE49-F238E27FC236}">
                <a16:creationId xmlns:a16="http://schemas.microsoft.com/office/drawing/2014/main" id="{8928BBA9-96FA-40B4-9815-860C77E3EC41}"/>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19007875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FE7B902-01C5-279F-716C-D4818AF88DEB}"/>
              </a:ext>
            </a:extLst>
          </p:cNvPr>
          <p:cNvGraphicFramePr>
            <a:graphicFrameLocks noChangeAspect="1"/>
          </p:cNvGraphicFramePr>
          <p:nvPr>
            <p:custDataLst>
              <p:tags r:id="rId1"/>
            </p:custDataLst>
            <p:extLst>
              <p:ext uri="{D42A27DB-BD31-4B8C-83A1-F6EECF244321}">
                <p14:modId xmlns:p14="http://schemas.microsoft.com/office/powerpoint/2010/main" val="2438422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1FE7B902-01C5-279F-716C-D4818AF88DE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2558334-A345-4D81-9F4E-D052229C97C2}"/>
              </a:ext>
            </a:extLst>
          </p:cNvPr>
          <p:cNvSpPr>
            <a:spLocks noGrp="1"/>
          </p:cNvSpPr>
          <p:nvPr>
            <p:ph type="ctrTitle"/>
          </p:nvPr>
        </p:nvSpPr>
        <p:spPr/>
        <p:txBody>
          <a:bodyPr vert="horz"/>
          <a:lstStyle/>
          <a:p>
            <a:pPr algn="l"/>
            <a:r>
              <a:rPr lang="de-DE" dirty="0"/>
              <a:t>Viel Erfolg!</a:t>
            </a:r>
            <a:endParaRPr lang="de-CH" dirty="0"/>
          </a:p>
        </p:txBody>
      </p:sp>
      <p:sp>
        <p:nvSpPr>
          <p:cNvPr id="5" name="Textplatzhalter 4">
            <a:extLst>
              <a:ext uri="{FF2B5EF4-FFF2-40B4-BE49-F238E27FC236}">
                <a16:creationId xmlns:a16="http://schemas.microsoft.com/office/drawing/2014/main" id="{20CBB855-862A-446C-A75E-1B38AEA6B736}"/>
              </a:ext>
            </a:extLst>
          </p:cNvPr>
          <p:cNvSpPr>
            <a:spLocks noGrp="1"/>
          </p:cNvSpPr>
          <p:nvPr>
            <p:ph type="body" sz="quarter" idx="13"/>
          </p:nvPr>
        </p:nvSpPr>
        <p:spPr>
          <a:xfrm>
            <a:off x="1078515" y="4505325"/>
            <a:ext cx="9437085" cy="1625300"/>
          </a:xfrm>
        </p:spPr>
        <p:txBody>
          <a:bodyPr vert="horz" lIns="0" tIns="0" rIns="0" bIns="0" rtlCol="0" anchor="t">
            <a:noAutofit/>
          </a:bodyPr>
          <a:lstStyle/>
          <a:p>
            <a:r>
              <a:rPr lang="de-CH" dirty="0"/>
              <a:t>Kontaktieren Sie bei Verständnisfragen zum Workshop-Konzept Sara van Leeuwen  (sara.vanleeuwen@sl.ethz.ch). Bei Fragen zu Regelungen und Rahmenbedingungen stehen Ihnen die HR-Partner (Abteilung HR-Beratung) gerne zur Verfügung. </a:t>
            </a:r>
          </a:p>
        </p:txBody>
      </p:sp>
      <p:sp>
        <p:nvSpPr>
          <p:cNvPr id="3" name="Rechteck 4">
            <a:extLst>
              <a:ext uri="{FF2B5EF4-FFF2-40B4-BE49-F238E27FC236}">
                <a16:creationId xmlns:a16="http://schemas.microsoft.com/office/drawing/2014/main" id="{723BB8B0-3216-5F05-ADD6-9B73AE911F92}"/>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2104076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DB5C681-0F20-2515-3C36-02BE7407BA56}"/>
              </a:ext>
            </a:extLst>
          </p:cNvPr>
          <p:cNvGraphicFramePr>
            <a:graphicFrameLocks noChangeAspect="1"/>
          </p:cNvGraphicFramePr>
          <p:nvPr>
            <p:custDataLst>
              <p:tags r:id="rId1"/>
            </p:custDataLst>
            <p:extLst>
              <p:ext uri="{D42A27DB-BD31-4B8C-83A1-F6EECF244321}">
                <p14:modId xmlns:p14="http://schemas.microsoft.com/office/powerpoint/2010/main" val="419937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ADB5C681-0F20-2515-3C36-02BE7407BA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8698104-62D2-44F7-8498-4D2F01E2AB5C}"/>
              </a:ext>
            </a:extLst>
          </p:cNvPr>
          <p:cNvSpPr>
            <a:spLocks noGrp="1"/>
          </p:cNvSpPr>
          <p:nvPr>
            <p:ph type="title"/>
          </p:nvPr>
        </p:nvSpPr>
        <p:spPr/>
        <p:txBody>
          <a:bodyPr vert="horz"/>
          <a:lstStyle/>
          <a:p>
            <a:pPr algn="l"/>
            <a:r>
              <a:rPr lang="de-CH" b="0" i="0" u="none" baseline="0" dirty="0">
                <a:latin typeface="Arial"/>
                <a:ea typeface="Arial"/>
                <a:cs typeface="Arial"/>
              </a:rPr>
              <a:t>Relevante Erkenntnisse innerhalb der ETH</a:t>
            </a:r>
            <a:br>
              <a:rPr lang="de-CH" b="0" i="0" u="none" baseline="0" dirty="0">
                <a:latin typeface="Arial"/>
                <a:ea typeface="Arial"/>
                <a:cs typeface="Arial"/>
              </a:rPr>
            </a:br>
            <a:br>
              <a:rPr lang="de-CH" b="0" i="0" u="none" baseline="0" dirty="0">
                <a:latin typeface="Arial"/>
                <a:ea typeface="Arial"/>
                <a:cs typeface="Arial"/>
              </a:rPr>
            </a:br>
            <a:r>
              <a:rPr lang="de-CH" b="0" i="0" u="none" baseline="0" dirty="0">
                <a:latin typeface="Arial"/>
                <a:ea typeface="Arial"/>
                <a:cs typeface="Arial"/>
              </a:rPr>
              <a:t> </a:t>
            </a:r>
            <a:endParaRPr lang="de-CH" sz="1600" dirty="0">
              <a:cs typeface="Arial"/>
            </a:endParaRPr>
          </a:p>
        </p:txBody>
      </p:sp>
      <p:sp>
        <p:nvSpPr>
          <p:cNvPr id="4" name="Datumsplatzhalter 3">
            <a:extLst>
              <a:ext uri="{FF2B5EF4-FFF2-40B4-BE49-F238E27FC236}">
                <a16:creationId xmlns:a16="http://schemas.microsoft.com/office/drawing/2014/main" id="{2C7151FD-0B7E-40A5-B765-DCA9528BEB0E}"/>
              </a:ext>
            </a:extLst>
          </p:cNvPr>
          <p:cNvSpPr>
            <a:spLocks noGrp="1"/>
          </p:cNvSpPr>
          <p:nvPr>
            <p:ph type="dt" sz="half" idx="10"/>
          </p:nvPr>
        </p:nvSpPr>
        <p:spPr/>
        <p:txBody>
          <a:bodyPr/>
          <a:lstStyle/>
          <a:p>
            <a:pPr algn="l"/>
            <a:fld id="{D75C946A-0B6A-41DA-A510-C499230E8CAD}" type="datetime1">
              <a:rPr lang="de-CH" smtClean="0"/>
              <a:t>29.02.2024</a:t>
            </a:fld>
            <a:endParaRPr lang="de-CH" noProof="0" dirty="0"/>
          </a:p>
        </p:txBody>
      </p:sp>
      <p:sp>
        <p:nvSpPr>
          <p:cNvPr id="5" name="Fußzeilenplatzhalter 4">
            <a:extLst>
              <a:ext uri="{FF2B5EF4-FFF2-40B4-BE49-F238E27FC236}">
                <a16:creationId xmlns:a16="http://schemas.microsoft.com/office/drawing/2014/main" id="{0E142C1F-9344-4A89-B6B0-A96D514A358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30493C4D-4FE7-4A4E-B4D3-67C813803591}"/>
              </a:ext>
            </a:extLst>
          </p:cNvPr>
          <p:cNvSpPr>
            <a:spLocks noGrp="1"/>
          </p:cNvSpPr>
          <p:nvPr>
            <p:ph type="sldNum" sz="quarter" idx="12"/>
          </p:nvPr>
        </p:nvSpPr>
        <p:spPr/>
        <p:txBody>
          <a:bodyPr/>
          <a:lstStyle/>
          <a:p>
            <a:pPr algn="r"/>
            <a:fld id="{5ACA52AF-F19D-405C-AD5F-7D94B96A5CC3}" type="slidenum">
              <a:rPr lang="de-CH" smtClean="0"/>
              <a:pPr algn="r"/>
              <a:t>4</a:t>
            </a:fld>
            <a:endParaRPr lang="de-CH" noProof="0" dirty="0"/>
          </a:p>
        </p:txBody>
      </p:sp>
      <p:sp>
        <p:nvSpPr>
          <p:cNvPr id="7" name="Rechteck 6">
            <a:extLst>
              <a:ext uri="{FF2B5EF4-FFF2-40B4-BE49-F238E27FC236}">
                <a16:creationId xmlns:a16="http://schemas.microsoft.com/office/drawing/2014/main" id="{4A8138F0-8B88-45AF-BB6F-E3C27F039B53}"/>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
        <p:nvSpPr>
          <p:cNvPr id="10" name="TextBox 9">
            <a:extLst>
              <a:ext uri="{FF2B5EF4-FFF2-40B4-BE49-F238E27FC236}">
                <a16:creationId xmlns:a16="http://schemas.microsoft.com/office/drawing/2014/main" id="{89002B66-8B82-4F4C-826B-607F78B71E25}"/>
              </a:ext>
            </a:extLst>
          </p:cNvPr>
          <p:cNvSpPr txBox="1"/>
          <p:nvPr/>
        </p:nvSpPr>
        <p:spPr>
          <a:xfrm>
            <a:off x="2926556" y="1414463"/>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de-CH" dirty="0">
              <a:cs typeface="Arial"/>
            </a:endParaRPr>
          </a:p>
        </p:txBody>
      </p:sp>
      <p:pic>
        <p:nvPicPr>
          <p:cNvPr id="13" name="Picture 14" descr="A picture containing text&#10;&#10;Description automatically generated">
            <a:extLst>
              <a:ext uri="{FF2B5EF4-FFF2-40B4-BE49-F238E27FC236}">
                <a16:creationId xmlns:a16="http://schemas.microsoft.com/office/drawing/2014/main" id="{72090AE7-9624-4F36-AE5A-56FF4FE73935}"/>
              </a:ext>
            </a:extLst>
          </p:cNvPr>
          <p:cNvPicPr>
            <a:picLocks noChangeAspect="1"/>
          </p:cNvPicPr>
          <p:nvPr/>
        </p:nvPicPr>
        <p:blipFill>
          <a:blip r:embed="rId6"/>
          <a:stretch>
            <a:fillRect/>
          </a:stretch>
        </p:blipFill>
        <p:spPr>
          <a:xfrm>
            <a:off x="747505" y="1207833"/>
            <a:ext cx="542925" cy="571500"/>
          </a:xfrm>
          <a:prstGeom prst="rect">
            <a:avLst/>
          </a:prstGeom>
        </p:spPr>
      </p:pic>
      <p:sp>
        <p:nvSpPr>
          <p:cNvPr id="16" name="Content Placeholder 15">
            <a:extLst>
              <a:ext uri="{FF2B5EF4-FFF2-40B4-BE49-F238E27FC236}">
                <a16:creationId xmlns:a16="http://schemas.microsoft.com/office/drawing/2014/main" id="{610C0BC9-B539-4F72-A018-A02A8E404895}"/>
              </a:ext>
            </a:extLst>
          </p:cNvPr>
          <p:cNvSpPr>
            <a:spLocks noGrp="1"/>
          </p:cNvSpPr>
          <p:nvPr>
            <p:ph idx="1"/>
          </p:nvPr>
        </p:nvSpPr>
        <p:spPr>
          <a:xfrm>
            <a:off x="1406433" y="1329805"/>
            <a:ext cx="7663045" cy="4163542"/>
          </a:xfrm>
        </p:spPr>
        <p:txBody>
          <a:bodyPr vert="horz" lIns="0" tIns="0" rIns="0" bIns="0" rtlCol="0" anchor="t">
            <a:noAutofit/>
          </a:bodyPr>
          <a:lstStyle/>
          <a:p>
            <a:pPr marL="0" indent="0" algn="l">
              <a:spcBef>
                <a:spcPts val="2400"/>
              </a:spcBef>
              <a:buNone/>
            </a:pPr>
            <a:r>
              <a:rPr lang="de-CH" sz="1600" b="0" i="0" u="none" baseline="0" dirty="0">
                <a:ea typeface="Segoe UI"/>
                <a:cs typeface="Segoe UI"/>
              </a:rPr>
              <a:t>Im Durchschnitt wollen die Mitarbeitenden der ETH 56% ihrer Arbeitszeit vor Ort verbringen und 35% ihrer Arbeitszeit von zu Hause aus arbeiten.</a:t>
            </a:r>
          </a:p>
          <a:p>
            <a:pPr marL="0" indent="0" algn="l">
              <a:spcBef>
                <a:spcPts val="2400"/>
              </a:spcBef>
              <a:buNone/>
            </a:pPr>
            <a:r>
              <a:rPr lang="de-CH" sz="1600" b="0" i="0" u="none" baseline="0" dirty="0">
                <a:cs typeface="Segoe UI"/>
              </a:rPr>
              <a:t>Die drei wichtigsten Gründe für die Bevorzugung der Heimarbeit durch ETH-Mitarbeitende sind: der Wegfall des Pendelns, die freie Wahl des Arbeitsortes und der Arbeitszeiten sowie eine bessere Vereinbarkeit von Arbeit und Privatleben.</a:t>
            </a:r>
          </a:p>
          <a:p>
            <a:pPr marL="0" indent="0" algn="l">
              <a:spcBef>
                <a:spcPts val="2400"/>
              </a:spcBef>
              <a:buNone/>
            </a:pPr>
            <a:r>
              <a:rPr lang="de-CH" sz="1600" b="0" i="0" u="none" baseline="0" dirty="0">
                <a:ea typeface="+mn-lt"/>
                <a:cs typeface="+mn-lt"/>
              </a:rPr>
              <a:t>Vertrauensvolle Arbeitsverhältnisse sind entscheidend für hybride Arbeitsverhältnisse</a:t>
            </a:r>
          </a:p>
          <a:p>
            <a:pPr marL="0" indent="0" algn="l">
              <a:spcBef>
                <a:spcPts val="2400"/>
              </a:spcBef>
              <a:buNone/>
            </a:pPr>
            <a:r>
              <a:rPr lang="de-CH" sz="1600" b="0" i="0" u="none" baseline="0" dirty="0">
                <a:ea typeface="Segoe UI"/>
                <a:cs typeface="Segoe UI"/>
              </a:rPr>
              <a:t>An der ETH wurden viele Software-Tools zur Verfügung gestellt, die hybride Arbeitsformen unterstützen.</a:t>
            </a:r>
          </a:p>
          <a:p>
            <a:pPr marL="0" indent="0" algn="l">
              <a:spcBef>
                <a:spcPts val="2400"/>
              </a:spcBef>
              <a:buNone/>
            </a:pPr>
            <a:r>
              <a:rPr lang="de-CH" sz="1600" dirty="0">
                <a:cs typeface="Segoe UI"/>
              </a:rPr>
              <a:t>Spontane, informelle Interaktionen mit Arbeitskolleginnen und -kollegen und die daraus entstehenden Ideen bleiben in den Augen der Mitarbeitenden der ETH weiterhin wichtig.</a:t>
            </a:r>
            <a:endParaRPr lang="de-CH" sz="1600" dirty="0">
              <a:cs typeface="Arial" panose="020B0604020202020204"/>
            </a:endParaRPr>
          </a:p>
        </p:txBody>
      </p:sp>
      <p:pic>
        <p:nvPicPr>
          <p:cNvPr id="18" name="Picture 18">
            <a:extLst>
              <a:ext uri="{FF2B5EF4-FFF2-40B4-BE49-F238E27FC236}">
                <a16:creationId xmlns:a16="http://schemas.microsoft.com/office/drawing/2014/main" id="{AE3A6DEC-99DC-408A-BCDE-E9FAD48A6E2D}"/>
              </a:ext>
            </a:extLst>
          </p:cNvPr>
          <p:cNvPicPr>
            <a:picLocks noChangeAspect="1"/>
          </p:cNvPicPr>
          <p:nvPr/>
        </p:nvPicPr>
        <p:blipFill>
          <a:blip r:embed="rId7"/>
          <a:stretch>
            <a:fillRect/>
          </a:stretch>
        </p:blipFill>
        <p:spPr>
          <a:xfrm>
            <a:off x="782775" y="3733651"/>
            <a:ext cx="457200" cy="333375"/>
          </a:xfrm>
          <a:prstGeom prst="rect">
            <a:avLst/>
          </a:prstGeom>
        </p:spPr>
      </p:pic>
      <p:pic>
        <p:nvPicPr>
          <p:cNvPr id="19" name="Picture 19" descr="Diagram&#10;&#10;Description automatically generated">
            <a:extLst>
              <a:ext uri="{FF2B5EF4-FFF2-40B4-BE49-F238E27FC236}">
                <a16:creationId xmlns:a16="http://schemas.microsoft.com/office/drawing/2014/main" id="{C827A84E-853D-4F4F-B2C0-D55B00AFDD82}"/>
              </a:ext>
            </a:extLst>
          </p:cNvPr>
          <p:cNvPicPr>
            <a:picLocks noChangeAspect="1"/>
          </p:cNvPicPr>
          <p:nvPr/>
        </p:nvPicPr>
        <p:blipFill rotWithShape="1">
          <a:blip r:embed="rId8"/>
          <a:srcRect l="60018"/>
          <a:stretch/>
        </p:blipFill>
        <p:spPr>
          <a:xfrm>
            <a:off x="9069478" y="1599129"/>
            <a:ext cx="2457676" cy="2674790"/>
          </a:xfrm>
          <a:prstGeom prst="rect">
            <a:avLst/>
          </a:prstGeom>
        </p:spPr>
      </p:pic>
      <p:pic>
        <p:nvPicPr>
          <p:cNvPr id="20" name="Picture 20">
            <a:extLst>
              <a:ext uri="{FF2B5EF4-FFF2-40B4-BE49-F238E27FC236}">
                <a16:creationId xmlns:a16="http://schemas.microsoft.com/office/drawing/2014/main" id="{F6A64803-6769-44BF-8556-118AAC9376D4}"/>
              </a:ext>
            </a:extLst>
          </p:cNvPr>
          <p:cNvPicPr>
            <a:picLocks noChangeAspect="1"/>
          </p:cNvPicPr>
          <p:nvPr/>
        </p:nvPicPr>
        <p:blipFill>
          <a:blip r:embed="rId9"/>
          <a:stretch>
            <a:fillRect/>
          </a:stretch>
        </p:blipFill>
        <p:spPr>
          <a:xfrm>
            <a:off x="823804" y="2280736"/>
            <a:ext cx="390525" cy="219075"/>
          </a:xfrm>
          <a:prstGeom prst="rect">
            <a:avLst/>
          </a:prstGeom>
        </p:spPr>
      </p:pic>
      <p:sp>
        <p:nvSpPr>
          <p:cNvPr id="21" name="TextBox 20">
            <a:extLst>
              <a:ext uri="{FF2B5EF4-FFF2-40B4-BE49-F238E27FC236}">
                <a16:creationId xmlns:a16="http://schemas.microsoft.com/office/drawing/2014/main" id="{76BD90C2-8D4F-46E7-A04F-FF79D28D989A}"/>
              </a:ext>
            </a:extLst>
          </p:cNvPr>
          <p:cNvSpPr txBox="1"/>
          <p:nvPr/>
        </p:nvSpPr>
        <p:spPr>
          <a:xfrm>
            <a:off x="731837" y="5315398"/>
            <a:ext cx="10795317" cy="97975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CH" sz="800" b="0" i="0" u="none" baseline="0" dirty="0">
                <a:latin typeface="+mn-lt"/>
                <a:ea typeface="+mn-lt"/>
                <a:cs typeface="+mn-lt"/>
              </a:rPr>
              <a:t>Report </a:t>
            </a:r>
            <a:r>
              <a:rPr lang="de-CH" sz="800" b="0" i="0" u="none" baseline="0" dirty="0" err="1">
                <a:latin typeface="+mn-lt"/>
                <a:ea typeface="+mn-lt"/>
                <a:cs typeface="+mn-lt"/>
              </a:rPr>
              <a:t>from</a:t>
            </a:r>
            <a:r>
              <a:rPr lang="de-CH" sz="800" b="0" i="0" u="none" baseline="0" dirty="0">
                <a:latin typeface="+mn-lt"/>
                <a:ea typeface="+mn-lt"/>
                <a:cs typeface="+mn-lt"/>
              </a:rPr>
              <a:t> </a:t>
            </a:r>
            <a:r>
              <a:rPr lang="de-CH" sz="800" b="0" i="0" u="none" baseline="0" dirty="0" err="1">
                <a:latin typeface="+mn-lt"/>
                <a:ea typeface="+mn-lt"/>
                <a:cs typeface="+mn-lt"/>
              </a:rPr>
              <a:t>Oct</a:t>
            </a:r>
            <a:r>
              <a:rPr lang="de-CH" sz="800" b="0" i="0" u="none" baseline="0" dirty="0">
                <a:latin typeface="+mn-lt"/>
                <a:ea typeface="+mn-lt"/>
                <a:cs typeface="+mn-lt"/>
              </a:rPr>
              <a:t> 2020 (</a:t>
            </a:r>
            <a:r>
              <a:rPr lang="de-CH" sz="800" b="0" i="0" u="none" baseline="0" dirty="0" err="1">
                <a:latin typeface="+mn-lt"/>
                <a:ea typeface="+mn-lt"/>
                <a:cs typeface="+mn-lt"/>
              </a:rPr>
              <a:t>survey</a:t>
            </a:r>
            <a:r>
              <a:rPr lang="de-CH" sz="800" b="0" i="0" u="none" baseline="0" dirty="0">
                <a:latin typeface="+mn-lt"/>
                <a:ea typeface="+mn-lt"/>
                <a:cs typeface="+mn-lt"/>
              </a:rPr>
              <a:t> in spring 2020) = Grote, G., Bienefeld, N, Gerlach, A, Medici, G, Kahlert, A., </a:t>
            </a:r>
            <a:r>
              <a:rPr lang="de-CH" sz="800" b="0" i="0" u="none" baseline="0" dirty="0" err="1">
                <a:latin typeface="+mn-lt"/>
                <a:ea typeface="+mn-lt"/>
                <a:cs typeface="+mn-lt"/>
              </a:rPr>
              <a:t>Pfrombeck</a:t>
            </a:r>
            <a:r>
              <a:rPr lang="de-CH" sz="800" b="0" i="0" u="none" baseline="0" dirty="0">
                <a:latin typeface="+mn-lt"/>
                <a:ea typeface="+mn-lt"/>
                <a:cs typeface="+mn-lt"/>
              </a:rPr>
              <a:t>, J. (2020). ETH Covid-19 Remote </a:t>
            </a:r>
            <a:r>
              <a:rPr lang="de-CH" sz="800" b="0" i="0" u="none" baseline="0" dirty="0" err="1">
                <a:latin typeface="+mn-lt"/>
                <a:ea typeface="+mn-lt"/>
                <a:cs typeface="+mn-lt"/>
              </a:rPr>
              <a:t>working</a:t>
            </a:r>
            <a:r>
              <a:rPr lang="de-CH" sz="800" b="0" i="0" u="none" baseline="0" dirty="0">
                <a:latin typeface="+mn-lt"/>
                <a:ea typeface="+mn-lt"/>
                <a:cs typeface="+mn-lt"/>
              </a:rPr>
              <a:t> and virtual </a:t>
            </a:r>
            <a:r>
              <a:rPr lang="de-CH" sz="800" b="0" i="0" u="none" baseline="0" dirty="0" err="1">
                <a:latin typeface="+mn-lt"/>
                <a:ea typeface="+mn-lt"/>
                <a:cs typeface="+mn-lt"/>
              </a:rPr>
              <a:t>collaboration</a:t>
            </a:r>
            <a:r>
              <a:rPr lang="de-CH" sz="800" b="0" i="0" u="none" baseline="0" dirty="0">
                <a:latin typeface="+mn-lt"/>
                <a:ea typeface="+mn-lt"/>
                <a:cs typeface="+mn-lt"/>
              </a:rPr>
              <a:t> </a:t>
            </a:r>
            <a:r>
              <a:rPr lang="de-CH" sz="800" b="0" i="0" u="none" baseline="0" dirty="0" err="1">
                <a:latin typeface="+mn-lt"/>
                <a:ea typeface="+mn-lt"/>
                <a:cs typeface="+mn-lt"/>
              </a:rPr>
              <a:t>survey</a:t>
            </a:r>
            <a:r>
              <a:rPr lang="de-CH" sz="800" b="0" i="0" u="none" baseline="0" dirty="0">
                <a:latin typeface="+mn-lt"/>
                <a:ea typeface="+mn-lt"/>
                <a:cs typeface="+mn-lt"/>
              </a:rPr>
              <a:t> Spring 2020. Chair </a:t>
            </a:r>
            <a:r>
              <a:rPr lang="de-CH" sz="800" b="0" i="0" u="none" baseline="0" dirty="0" err="1">
                <a:latin typeface="+mn-lt"/>
                <a:ea typeface="+mn-lt"/>
                <a:cs typeface="+mn-lt"/>
              </a:rPr>
              <a:t>of</a:t>
            </a:r>
            <a:r>
              <a:rPr lang="de-CH" sz="800" b="0" i="0" u="none" baseline="0" dirty="0">
                <a:latin typeface="+mn-lt"/>
                <a:ea typeface="+mn-lt"/>
                <a:cs typeface="+mn-lt"/>
              </a:rPr>
              <a:t> Work and Organizational </a:t>
            </a:r>
            <a:r>
              <a:rPr lang="de-CH" sz="800" b="0" i="0" u="none" baseline="0" dirty="0" err="1">
                <a:latin typeface="+mn-lt"/>
                <a:ea typeface="+mn-lt"/>
                <a:cs typeface="+mn-lt"/>
              </a:rPr>
              <a:t>Psychology</a:t>
            </a:r>
            <a:r>
              <a:rPr lang="de-CH" sz="800" b="0" i="0" u="none" baseline="0" dirty="0">
                <a:latin typeface="+mn-lt"/>
                <a:ea typeface="+mn-lt"/>
                <a:cs typeface="+mn-lt"/>
              </a:rPr>
              <a:t>. ETH </a:t>
            </a:r>
            <a:r>
              <a:rPr lang="de-CH" sz="800" b="0" i="0" u="none" baseline="0" dirty="0" err="1">
                <a:latin typeface="+mn-lt"/>
                <a:ea typeface="+mn-lt"/>
                <a:cs typeface="+mn-lt"/>
              </a:rPr>
              <a:t>Zurich</a:t>
            </a:r>
            <a:r>
              <a:rPr lang="de-CH" sz="800" b="0" i="0" u="none" baseline="0" dirty="0">
                <a:latin typeface="+mn-lt"/>
                <a:ea typeface="+mn-lt"/>
                <a:cs typeface="+mn-lt"/>
              </a:rPr>
              <a:t>. </a:t>
            </a:r>
            <a:endParaRPr lang="de-CH" sz="800" dirty="0">
              <a:cs typeface="Arial"/>
            </a:endParaRPr>
          </a:p>
          <a:p>
            <a:pPr algn="l">
              <a:spcBef>
                <a:spcPts val="1000"/>
              </a:spcBef>
            </a:pPr>
            <a:r>
              <a:rPr lang="de-CH" sz="800" b="0" i="0" u="none" baseline="0" dirty="0">
                <a:latin typeface="+mn-lt"/>
                <a:ea typeface="+mn-lt"/>
                <a:cs typeface="+mn-lt"/>
              </a:rPr>
              <a:t>Report Survey Winter/Spring 2021 = Bienefeld, N., Gerlach, A., Grote, G., Koller, L., </a:t>
            </a:r>
            <a:r>
              <a:rPr lang="de-CH" sz="800" b="0" i="0" u="none" baseline="0" dirty="0" err="1">
                <a:latin typeface="+mn-lt"/>
                <a:ea typeface="+mn-lt"/>
                <a:cs typeface="+mn-lt"/>
              </a:rPr>
              <a:t>Pfrombeck</a:t>
            </a:r>
            <a:r>
              <a:rPr lang="de-CH" sz="800" b="0" i="0" u="none" baseline="0" dirty="0">
                <a:latin typeface="+mn-lt"/>
                <a:ea typeface="+mn-lt"/>
                <a:cs typeface="+mn-lt"/>
              </a:rPr>
              <a:t>, J., Schneider, L. (2021). ETH Covid-19 Remote </a:t>
            </a:r>
            <a:r>
              <a:rPr lang="de-CH" sz="800" b="0" i="0" u="none" baseline="0" dirty="0" err="1">
                <a:latin typeface="+mn-lt"/>
                <a:ea typeface="+mn-lt"/>
                <a:cs typeface="+mn-lt"/>
              </a:rPr>
              <a:t>working</a:t>
            </a:r>
            <a:r>
              <a:rPr lang="de-CH" sz="800" b="0" i="0" u="none" baseline="0" dirty="0">
                <a:latin typeface="+mn-lt"/>
                <a:ea typeface="+mn-lt"/>
                <a:cs typeface="+mn-lt"/>
              </a:rPr>
              <a:t> and virtual </a:t>
            </a:r>
            <a:r>
              <a:rPr lang="de-CH" sz="800" b="0" i="0" u="none" baseline="0" dirty="0" err="1">
                <a:latin typeface="+mn-lt"/>
                <a:ea typeface="+mn-lt"/>
                <a:cs typeface="+mn-lt"/>
              </a:rPr>
              <a:t>collaboration</a:t>
            </a:r>
            <a:r>
              <a:rPr lang="de-CH" sz="800" b="0" i="0" u="none" baseline="0" dirty="0">
                <a:latin typeface="+mn-lt"/>
                <a:ea typeface="+mn-lt"/>
                <a:cs typeface="+mn-lt"/>
              </a:rPr>
              <a:t> </a:t>
            </a:r>
            <a:r>
              <a:rPr lang="de-CH" sz="800" b="0" i="0" u="none" baseline="0" dirty="0" err="1">
                <a:latin typeface="+mn-lt"/>
                <a:ea typeface="+mn-lt"/>
                <a:cs typeface="+mn-lt"/>
              </a:rPr>
              <a:t>survey</a:t>
            </a:r>
            <a:r>
              <a:rPr lang="de-CH" sz="800" b="0" i="0" u="none" baseline="0" dirty="0">
                <a:latin typeface="+mn-lt"/>
                <a:ea typeface="+mn-lt"/>
                <a:cs typeface="+mn-lt"/>
              </a:rPr>
              <a:t> </a:t>
            </a:r>
            <a:r>
              <a:rPr lang="de-CH" sz="800" b="0" i="0" u="none" baseline="0" dirty="0" err="1">
                <a:latin typeface="+mn-lt"/>
                <a:ea typeface="+mn-lt"/>
                <a:cs typeface="+mn-lt"/>
              </a:rPr>
              <a:t>results</a:t>
            </a:r>
            <a:r>
              <a:rPr lang="de-CH" sz="800" b="0" i="0" u="none" baseline="0" dirty="0">
                <a:latin typeface="+mn-lt"/>
                <a:ea typeface="+mn-lt"/>
                <a:cs typeface="+mn-lt"/>
              </a:rPr>
              <a:t> Winter 2021. Chair </a:t>
            </a:r>
            <a:r>
              <a:rPr lang="de-CH" sz="800" b="0" i="0" u="none" baseline="0" dirty="0" err="1">
                <a:latin typeface="+mn-lt"/>
                <a:ea typeface="+mn-lt"/>
                <a:cs typeface="+mn-lt"/>
              </a:rPr>
              <a:t>of</a:t>
            </a:r>
            <a:r>
              <a:rPr lang="de-CH" sz="800" b="0" i="0" u="none" baseline="0" dirty="0">
                <a:latin typeface="+mn-lt"/>
                <a:ea typeface="+mn-lt"/>
                <a:cs typeface="+mn-lt"/>
              </a:rPr>
              <a:t> Work and Organizational </a:t>
            </a:r>
            <a:r>
              <a:rPr lang="de-CH" sz="800" b="0" i="0" u="none" baseline="0" dirty="0" err="1">
                <a:latin typeface="+mn-lt"/>
                <a:ea typeface="+mn-lt"/>
                <a:cs typeface="+mn-lt"/>
              </a:rPr>
              <a:t>Psychology</a:t>
            </a:r>
            <a:r>
              <a:rPr lang="de-CH" sz="800" b="0" i="0" u="none" baseline="0" dirty="0">
                <a:latin typeface="+mn-lt"/>
                <a:ea typeface="+mn-lt"/>
                <a:cs typeface="+mn-lt"/>
              </a:rPr>
              <a:t>. ETH </a:t>
            </a:r>
            <a:r>
              <a:rPr lang="de-CH" sz="800" b="0" i="0" u="none" baseline="0" dirty="0" err="1">
                <a:latin typeface="+mn-lt"/>
                <a:ea typeface="+mn-lt"/>
                <a:cs typeface="+mn-lt"/>
              </a:rPr>
              <a:t>Zurich</a:t>
            </a:r>
            <a:r>
              <a:rPr lang="de-CH" sz="800" b="0" i="0" u="none" baseline="0" dirty="0">
                <a:latin typeface="+mn-lt"/>
                <a:ea typeface="+mn-lt"/>
                <a:cs typeface="+mn-lt"/>
              </a:rPr>
              <a:t>.</a:t>
            </a:r>
          </a:p>
          <a:p>
            <a:pPr algn="l">
              <a:spcBef>
                <a:spcPts val="1000"/>
              </a:spcBef>
            </a:pPr>
            <a:r>
              <a:rPr lang="de-CH" sz="800" b="0" i="0" u="none" baseline="0" dirty="0">
                <a:latin typeface="+mn-lt"/>
                <a:ea typeface="+mn-lt"/>
                <a:cs typeface="+mn-lt"/>
              </a:rPr>
              <a:t>https://ethz.ch/content/dam/ethz/associates/services/Anstellung-Arbeiten/Rund_um_die_Anstellung/anstellung-und-arbeit/flexibles-arbeiten/future-of-work/FoW_Umfrage_2022_Auswertung_DE.pdf</a:t>
            </a:r>
            <a:endParaRPr lang="de-CH" sz="800" dirty="0"/>
          </a:p>
        </p:txBody>
      </p:sp>
      <p:pic>
        <p:nvPicPr>
          <p:cNvPr id="3" name="Picture 8">
            <a:extLst>
              <a:ext uri="{FF2B5EF4-FFF2-40B4-BE49-F238E27FC236}">
                <a16:creationId xmlns:a16="http://schemas.microsoft.com/office/drawing/2014/main" id="{4791305B-96B8-4804-92DD-3318E58CFD9D}"/>
              </a:ext>
            </a:extLst>
          </p:cNvPr>
          <p:cNvPicPr>
            <a:picLocks noChangeAspect="1"/>
          </p:cNvPicPr>
          <p:nvPr/>
        </p:nvPicPr>
        <p:blipFill>
          <a:blip r:embed="rId10"/>
          <a:stretch>
            <a:fillRect/>
          </a:stretch>
        </p:blipFill>
        <p:spPr>
          <a:xfrm>
            <a:off x="782775" y="4594920"/>
            <a:ext cx="438150" cy="323850"/>
          </a:xfrm>
          <a:prstGeom prst="rect">
            <a:avLst/>
          </a:prstGeom>
        </p:spPr>
      </p:pic>
      <p:pic>
        <p:nvPicPr>
          <p:cNvPr id="24" name="Graphic 23" descr="Badge Tick outline">
            <a:extLst>
              <a:ext uri="{FF2B5EF4-FFF2-40B4-BE49-F238E27FC236}">
                <a16:creationId xmlns:a16="http://schemas.microsoft.com/office/drawing/2014/main" id="{7BCC7FA2-C324-C217-569B-CB43F3B8989C}"/>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26187" y="2917691"/>
            <a:ext cx="642650" cy="642650"/>
          </a:xfrm>
          <a:prstGeom prst="rect">
            <a:avLst/>
          </a:prstGeom>
        </p:spPr>
      </p:pic>
    </p:spTree>
    <p:extLst>
      <p:ext uri="{BB962C8B-B14F-4D97-AF65-F5344CB8AC3E}">
        <p14:creationId xmlns:p14="http://schemas.microsoft.com/office/powerpoint/2010/main" val="1289117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4319D52-99EE-EE4B-35C3-4C037FDB14E5}"/>
              </a:ext>
            </a:extLst>
          </p:cNvPr>
          <p:cNvGraphicFramePr>
            <a:graphicFrameLocks noChangeAspect="1"/>
          </p:cNvGraphicFramePr>
          <p:nvPr>
            <p:custDataLst>
              <p:tags r:id="rId1"/>
            </p:custDataLst>
            <p:extLst>
              <p:ext uri="{D42A27DB-BD31-4B8C-83A1-F6EECF244321}">
                <p14:modId xmlns:p14="http://schemas.microsoft.com/office/powerpoint/2010/main" val="3539123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84319D52-99EE-EE4B-35C3-4C037FDB1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9A1C4D2-CFB3-461C-AF47-77E2FE13A7D1}"/>
              </a:ext>
            </a:extLst>
          </p:cNvPr>
          <p:cNvSpPr>
            <a:spLocks noGrp="1"/>
          </p:cNvSpPr>
          <p:nvPr>
            <p:ph type="title"/>
          </p:nvPr>
        </p:nvSpPr>
        <p:spPr/>
        <p:txBody>
          <a:bodyPr vert="horz"/>
          <a:lstStyle/>
          <a:p>
            <a:pPr algn="l"/>
            <a:r>
              <a:rPr lang="de-CH" dirty="0"/>
              <a:t>Fragen, welche ich mir als vorgesetzte Person in Vorbereitung </a:t>
            </a:r>
            <a:br>
              <a:rPr lang="de-CH" dirty="0"/>
            </a:br>
            <a:r>
              <a:rPr lang="de-CH" dirty="0"/>
              <a:t>auf den Workshop stellen kann </a:t>
            </a:r>
          </a:p>
        </p:txBody>
      </p:sp>
      <p:sp>
        <p:nvSpPr>
          <p:cNvPr id="3" name="Inhaltsplatzhalter 2">
            <a:extLst>
              <a:ext uri="{FF2B5EF4-FFF2-40B4-BE49-F238E27FC236}">
                <a16:creationId xmlns:a16="http://schemas.microsoft.com/office/drawing/2014/main" id="{0388AFFD-3076-49B5-B0DE-559A52DA68A3}"/>
              </a:ext>
            </a:extLst>
          </p:cNvPr>
          <p:cNvSpPr>
            <a:spLocks noGrp="1"/>
          </p:cNvSpPr>
          <p:nvPr>
            <p:ph idx="1"/>
          </p:nvPr>
        </p:nvSpPr>
        <p:spPr/>
        <p:txBody>
          <a:bodyPr vert="horz" lIns="0" tIns="0" rIns="0" bIns="0" rtlCol="0" anchor="t">
            <a:noAutofit/>
          </a:bodyPr>
          <a:lstStyle/>
          <a:p>
            <a:pPr marL="0" indent="0" algn="l">
              <a:buNone/>
            </a:pPr>
            <a:endParaRPr lang="de-CH">
              <a:cs typeface="Arial"/>
            </a:endParaRPr>
          </a:p>
          <a:p>
            <a:pPr marL="0" indent="0" algn="l">
              <a:buNone/>
            </a:pPr>
            <a:endParaRPr lang="de-CH">
              <a:cs typeface="Arial"/>
            </a:endParaRPr>
          </a:p>
          <a:p>
            <a:pPr marL="539750" lvl="1" indent="0" algn="l">
              <a:buNone/>
            </a:pPr>
            <a:endParaRPr lang="de-CH">
              <a:cs typeface="Arial"/>
            </a:endParaRPr>
          </a:p>
          <a:p>
            <a:pPr marL="825500" lvl="1" indent="-285750" algn="l">
              <a:buFont typeface="Arial" panose="020B0604020202020204" pitchFamily="34" charset="0"/>
              <a:buChar char="•"/>
            </a:pPr>
            <a:endParaRPr lang="de-CH">
              <a:cs typeface="Arial"/>
            </a:endParaRPr>
          </a:p>
          <a:p>
            <a:pPr marL="825500" lvl="1" indent="-285750" algn="l">
              <a:buFont typeface="Arial" panose="020B0604020202020204" pitchFamily="34" charset="0"/>
              <a:buChar char="•"/>
            </a:pPr>
            <a:endParaRPr lang="de-CH" dirty="0">
              <a:highlight>
                <a:srgbClr val="FFFF00"/>
              </a:highlight>
              <a:cs typeface="Arial" panose="020B0604020202020204"/>
            </a:endParaRPr>
          </a:p>
        </p:txBody>
      </p:sp>
      <p:sp>
        <p:nvSpPr>
          <p:cNvPr id="4" name="Datumsplatzhalter 3">
            <a:extLst>
              <a:ext uri="{FF2B5EF4-FFF2-40B4-BE49-F238E27FC236}">
                <a16:creationId xmlns:a16="http://schemas.microsoft.com/office/drawing/2014/main" id="{9CA1C58A-C168-4EDF-B8E5-CC4D577EF906}"/>
              </a:ext>
            </a:extLst>
          </p:cNvPr>
          <p:cNvSpPr>
            <a:spLocks noGrp="1"/>
          </p:cNvSpPr>
          <p:nvPr>
            <p:ph type="dt" sz="half" idx="10"/>
          </p:nvPr>
        </p:nvSpPr>
        <p:spPr/>
        <p:txBody>
          <a:bodyPr/>
          <a:lstStyle/>
          <a:p>
            <a:pPr algn="l"/>
            <a:fld id="{B2C043A9-4181-435E-B652-A9A14D823A98}" type="datetime1">
              <a:rPr lang="de-CH" smtClean="0"/>
              <a:t>29.02.2024</a:t>
            </a:fld>
            <a:endParaRPr lang="de-CH" noProof="0" dirty="0"/>
          </a:p>
        </p:txBody>
      </p:sp>
      <p:sp>
        <p:nvSpPr>
          <p:cNvPr id="5" name="Fußzeilenplatzhalter 4">
            <a:extLst>
              <a:ext uri="{FF2B5EF4-FFF2-40B4-BE49-F238E27FC236}">
                <a16:creationId xmlns:a16="http://schemas.microsoft.com/office/drawing/2014/main" id="{85D9BC9D-3DA7-45F6-B926-A87C277DD9F8}"/>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a:extLst>
              <a:ext uri="{FF2B5EF4-FFF2-40B4-BE49-F238E27FC236}">
                <a16:creationId xmlns:a16="http://schemas.microsoft.com/office/drawing/2014/main" id="{10B85623-378B-4EB9-AA11-55C1EBD36CD0}"/>
              </a:ext>
            </a:extLst>
          </p:cNvPr>
          <p:cNvSpPr>
            <a:spLocks noGrp="1"/>
          </p:cNvSpPr>
          <p:nvPr>
            <p:ph type="sldNum" sz="quarter" idx="12"/>
          </p:nvPr>
        </p:nvSpPr>
        <p:spPr/>
        <p:txBody>
          <a:bodyPr/>
          <a:lstStyle/>
          <a:p>
            <a:pPr algn="r"/>
            <a:fld id="{5ACA52AF-F19D-405C-AD5F-7D94B96A5CC3}" type="slidenum">
              <a:rPr lang="de-CH" smtClean="0"/>
              <a:pPr algn="r"/>
              <a:t>5</a:t>
            </a:fld>
            <a:endParaRPr lang="de-CH" noProof="0" dirty="0"/>
          </a:p>
        </p:txBody>
      </p:sp>
      <p:sp>
        <p:nvSpPr>
          <p:cNvPr id="8" name="Rechteck 7">
            <a:extLst>
              <a:ext uri="{FF2B5EF4-FFF2-40B4-BE49-F238E27FC236}">
                <a16:creationId xmlns:a16="http://schemas.microsoft.com/office/drawing/2014/main" id="{3F810E95-1E33-40B3-B601-24721E2C7DA5}"/>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graphicFrame>
        <p:nvGraphicFramePr>
          <p:cNvPr id="10" name="Table 9">
            <a:extLst>
              <a:ext uri="{FF2B5EF4-FFF2-40B4-BE49-F238E27FC236}">
                <a16:creationId xmlns:a16="http://schemas.microsoft.com/office/drawing/2014/main" id="{0EF152D8-7E22-405A-9145-E64DA0C4FFB0}"/>
              </a:ext>
            </a:extLst>
          </p:cNvPr>
          <p:cNvGraphicFramePr>
            <a:graphicFrameLocks noGrp="1"/>
          </p:cNvGraphicFramePr>
          <p:nvPr>
            <p:extLst>
              <p:ext uri="{D42A27DB-BD31-4B8C-83A1-F6EECF244321}">
                <p14:modId xmlns:p14="http://schemas.microsoft.com/office/powerpoint/2010/main" val="2922456338"/>
              </p:ext>
            </p:extLst>
          </p:nvPr>
        </p:nvGraphicFramePr>
        <p:xfrm>
          <a:off x="807982" y="1335212"/>
          <a:ext cx="10298600" cy="5090160"/>
        </p:xfrm>
        <a:graphic>
          <a:graphicData uri="http://schemas.openxmlformats.org/drawingml/2006/table">
            <a:tbl>
              <a:tblPr firstRow="1" bandRow="1">
                <a:tableStyleId>{5C22544A-7EE6-4342-B048-85BDC9FD1C3A}</a:tableStyleId>
              </a:tblPr>
              <a:tblGrid>
                <a:gridCol w="4795344">
                  <a:extLst>
                    <a:ext uri="{9D8B030D-6E8A-4147-A177-3AD203B41FA5}">
                      <a16:colId xmlns:a16="http://schemas.microsoft.com/office/drawing/2014/main" val="3470182746"/>
                    </a:ext>
                  </a:extLst>
                </a:gridCol>
                <a:gridCol w="5503256">
                  <a:extLst>
                    <a:ext uri="{9D8B030D-6E8A-4147-A177-3AD203B41FA5}">
                      <a16:colId xmlns:a16="http://schemas.microsoft.com/office/drawing/2014/main" val="1297534281"/>
                    </a:ext>
                  </a:extLst>
                </a:gridCol>
              </a:tblGrid>
              <a:tr h="3571875">
                <a:tc>
                  <a:txBody>
                    <a:bodyPr/>
                    <a:lstStyle/>
                    <a:p>
                      <a:pPr algn="l" rtl="0" fontAlgn="base"/>
                      <a:r>
                        <a:rPr lang="de-CH" sz="1400" dirty="0">
                          <a:effectLst/>
                        </a:rPr>
                        <a:t>Mensch</a:t>
                      </a:r>
                      <a:br>
                        <a:rPr lang="de-CH" sz="1400" dirty="0">
                          <a:effectLst/>
                        </a:rPr>
                      </a:br>
                      <a:r>
                        <a:rPr lang="de-CH" sz="1400" dirty="0">
                          <a:effectLst/>
                        </a:rPr>
                        <a:t>Individuelle Präferenzen und Situation  </a:t>
                      </a:r>
                    </a:p>
                    <a:p>
                      <a:pPr marL="342900" lvl="0" indent="-342900" algn="l" rtl="0" fontAlgn="base">
                        <a:buFont typeface="Arial" panose="020B0604020202020204" pitchFamily="34" charset="0"/>
                        <a:buChar char="•"/>
                      </a:pPr>
                      <a:r>
                        <a:rPr lang="de-CH" sz="1400" b="0" dirty="0">
                          <a:effectLst/>
                        </a:rPr>
                        <a:t>Welche Arbeitsweise lässt mich produktiv arbeiten? Wie geht es wohl anderen?</a:t>
                      </a:r>
                    </a:p>
                    <a:p>
                      <a:pPr marL="342900" lvl="0" indent="-342900" algn="l" rtl="0" fontAlgn="base">
                        <a:buFont typeface="Arial" panose="020B0604020202020204" pitchFamily="34" charset="0"/>
                        <a:buChar char="•"/>
                      </a:pPr>
                      <a:r>
                        <a:rPr lang="de-CH" sz="1400" b="0" dirty="0">
                          <a:effectLst/>
                        </a:rPr>
                        <a:t>Wie organisiere ich mich? Wie tun es andere?</a:t>
                      </a:r>
                    </a:p>
                    <a:p>
                      <a:pPr marL="342900" lvl="0" indent="-342900" algn="l" rtl="0" fontAlgn="base">
                        <a:buFont typeface="Arial" panose="020B0604020202020204" pitchFamily="34" charset="0"/>
                        <a:buChar char="•"/>
                      </a:pPr>
                      <a:r>
                        <a:rPr lang="de-CH" sz="1400" b="0" dirty="0">
                          <a:effectLst/>
                        </a:rPr>
                        <a:t>Wie stelle ich nachhaltiges Wohlbefinden sicher?</a:t>
                      </a:r>
                    </a:p>
                    <a:p>
                      <a:pPr marL="342900" lvl="0" indent="-342900" algn="l" rtl="0" fontAlgn="base">
                        <a:buFont typeface="Arial" panose="020B0604020202020204" pitchFamily="34" charset="0"/>
                        <a:buChar char="•"/>
                      </a:pPr>
                      <a:r>
                        <a:rPr lang="de-CH" sz="1400" b="0" dirty="0">
                          <a:effectLst/>
                        </a:rPr>
                        <a:t>Wie steht es um die Familiensituation und Betreuungsaufgaben?</a:t>
                      </a:r>
                    </a:p>
                    <a:p>
                      <a:pPr marL="342900" lvl="0" indent="-342900" algn="l" rtl="0" fontAlgn="base">
                        <a:buFont typeface="Arial" panose="020B0604020202020204" pitchFamily="34" charset="0"/>
                        <a:buChar char="•"/>
                      </a:pPr>
                      <a:endParaRPr lang="de-CH" sz="1400" dirty="0">
                        <a:effectLst/>
                      </a:endParaRPr>
                    </a:p>
                    <a:p>
                      <a:pPr algn="l" rtl="0" fontAlgn="base"/>
                      <a:r>
                        <a:rPr lang="de-CH" sz="1400" dirty="0">
                          <a:effectLst/>
                        </a:rPr>
                        <a:t>Meine Aufgabe als vorgesetzte Person </a:t>
                      </a:r>
                    </a:p>
                    <a:p>
                      <a:pPr marL="342900" lvl="0" indent="-342900" algn="l" rtl="0" fontAlgn="base">
                        <a:buFont typeface="Arial" panose="020B0604020202020204" pitchFamily="34" charset="0"/>
                        <a:buChar char="•"/>
                      </a:pPr>
                      <a:r>
                        <a:rPr lang="de-CH" sz="1400" b="0" i="0" u="none" baseline="0" dirty="0">
                          <a:effectLst/>
                        </a:rPr>
                        <a:t>Wie kann ich meinen Führungsstil an die Bedürfnisse meiner Teammitglieder anpassen? </a:t>
                      </a:r>
                    </a:p>
                    <a:p>
                      <a:pPr marL="342900" lvl="0" indent="-342900" algn="l" rtl="0" fontAlgn="base">
                        <a:buFont typeface="Arial" panose="020B0604020202020204" pitchFamily="34" charset="0"/>
                        <a:buChar char="•"/>
                      </a:pPr>
                      <a:r>
                        <a:rPr lang="de-CH" sz="1400" b="0" i="0" u="none" baseline="0" dirty="0">
                          <a:effectLst/>
                        </a:rPr>
                        <a:t>Wie kann ich die Prozesse der Rekrutierung, des Onboardings und der Unterstützung bzw. Entwicklung strukturieren? </a:t>
                      </a:r>
                    </a:p>
                    <a:p>
                      <a:pPr marL="342900" lvl="0" indent="-342900" algn="l" rtl="0" fontAlgn="base">
                        <a:buFont typeface="Arial" panose="020B0604020202020204" pitchFamily="34" charset="0"/>
                        <a:buChar char="•"/>
                      </a:pPr>
                      <a:r>
                        <a:rPr lang="de-CH" sz="1400" b="0" i="0" u="none" baseline="0" dirty="0">
                          <a:effectLst/>
                        </a:rPr>
                        <a:t>Wie kann ich sicherstellen, dass das Wohlbefinden der Mitarbeitenden in angemessener Weise berücksichtigt wird?</a:t>
                      </a:r>
                    </a:p>
                    <a:p>
                      <a:pPr marL="342900" lvl="0" indent="-342900" algn="l" rtl="0" fontAlgn="base">
                        <a:buFont typeface="Arial" panose="020B0604020202020204" pitchFamily="34" charset="0"/>
                        <a:buChar char="•"/>
                      </a:pPr>
                      <a:endParaRPr lang="de-CH" sz="1400" b="0" i="0" dirty="0">
                        <a:effectLst/>
                        <a:latin typeface="Arial"/>
                      </a:endParaRPr>
                    </a:p>
                  </a:txBody>
                  <a:tcPr/>
                </a:tc>
                <a:tc>
                  <a:txBody>
                    <a:bodyPr/>
                    <a:lstStyle/>
                    <a:p>
                      <a:pPr algn="l" rtl="0" fontAlgn="base"/>
                      <a:r>
                        <a:rPr lang="de-CH" sz="1400" b="1" i="0" u="none" baseline="0" dirty="0">
                          <a:effectLst/>
                        </a:rPr>
                        <a:t>Mein Team</a:t>
                      </a:r>
                      <a:br>
                        <a:rPr lang="de-CH" sz="1400" dirty="0">
                          <a:effectLst/>
                        </a:rPr>
                      </a:br>
                      <a:r>
                        <a:rPr lang="de-CH" sz="1400" b="1" i="0" u="none" baseline="0" dirty="0">
                          <a:effectLst/>
                        </a:rPr>
                        <a:t> </a:t>
                      </a:r>
                    </a:p>
                    <a:p>
                      <a:pPr marL="342900" lvl="0" indent="-342900" algn="l" rtl="0" fontAlgn="base">
                        <a:buFont typeface="Arial" panose="020B0604020202020204" pitchFamily="34" charset="0"/>
                        <a:buChar char="•"/>
                      </a:pPr>
                      <a:r>
                        <a:rPr lang="de-CH" sz="1400" b="0" i="0" u="none" baseline="0" dirty="0">
                          <a:effectLst/>
                        </a:rPr>
                        <a:t>Welche Flexibilität lässt unser Leistungsauftrag zu? </a:t>
                      </a:r>
                    </a:p>
                    <a:p>
                      <a:pPr marL="342900" lvl="0" indent="-342900" algn="l" rtl="0" fontAlgn="base">
                        <a:buFont typeface="Arial" panose="020B0604020202020204" pitchFamily="34" charset="0"/>
                        <a:buChar char="•"/>
                      </a:pPr>
                      <a:r>
                        <a:rPr lang="de-CH" sz="1400" b="0" i="0" u="none" baseline="0" dirty="0">
                          <a:effectLst/>
                        </a:rPr>
                        <a:t>Welche Schnittstellen gibt es dabei zu bedenken? Wie werden diese durch unsere Arbeitsorganisation beeinflusst?</a:t>
                      </a:r>
                    </a:p>
                    <a:p>
                      <a:pPr marL="342900" lvl="0" indent="-342900" algn="l" rtl="0" fontAlgn="base">
                        <a:buFont typeface="Arial" panose="020B0604020202020204" pitchFamily="34" charset="0"/>
                        <a:buChar char="•"/>
                      </a:pPr>
                      <a:r>
                        <a:rPr lang="de-CH" sz="1400" b="0" i="0" u="none" baseline="0" dirty="0">
                          <a:effectLst/>
                        </a:rPr>
                        <a:t>Wie könnte die Kommunikation im Team erfolgen? </a:t>
                      </a:r>
                    </a:p>
                    <a:p>
                      <a:pPr marL="342900" lvl="0" indent="-342900" algn="l" rtl="0" fontAlgn="base">
                        <a:buFont typeface="Arial" panose="020B0604020202020204" pitchFamily="34" charset="0"/>
                        <a:buChar char="•"/>
                      </a:pPr>
                      <a:r>
                        <a:rPr lang="de-CH" sz="1400" b="0" i="0" u="none" baseline="0" dirty="0">
                          <a:effectLst/>
                        </a:rPr>
                        <a:t>Wie könnten wir den sozialen / zwischenmenschlichen Austausch sicherstellen? </a:t>
                      </a:r>
                    </a:p>
                    <a:p>
                      <a:pPr marL="342900" lvl="0" indent="-342900" algn="l" rtl="0" fontAlgn="base">
                        <a:buFont typeface="Arial" panose="020B0604020202020204" pitchFamily="34" charset="0"/>
                        <a:buChar char="•"/>
                      </a:pPr>
                      <a:r>
                        <a:rPr lang="de-CH" sz="1400" b="0" i="0" u="none" baseline="0" dirty="0">
                          <a:effectLst/>
                        </a:rPr>
                        <a:t>Wünsche ich mir für das Team festgelegte Präsenztage oder soll dies individuell geregelt werden? </a:t>
                      </a:r>
                    </a:p>
                    <a:p>
                      <a:pPr marL="342900" lvl="0" indent="-342900" algn="l" rtl="0" fontAlgn="base">
                        <a:buFont typeface="Arial" panose="020B0604020202020204" pitchFamily="34" charset="0"/>
                        <a:buChar char="•"/>
                      </a:pPr>
                      <a:r>
                        <a:rPr lang="de-CH" sz="1400" b="0" i="0" u="none" baseline="0" dirty="0">
                          <a:effectLst/>
                        </a:rPr>
                        <a:t>Wie würde ich gern Teammeetings durchführen? Werden alle vor Ort präsent sein oder können die Meetings online bzw. hybrid stattfinden? </a:t>
                      </a:r>
                    </a:p>
                    <a:p>
                      <a:pPr marL="342900" lvl="0" indent="-342900" algn="l" rtl="0" fontAlgn="base">
                        <a:buFont typeface="Arial" panose="020B0604020202020204" pitchFamily="34" charset="0"/>
                        <a:buChar char="•"/>
                      </a:pPr>
                      <a:r>
                        <a:rPr lang="de-CH" sz="1400" b="0" i="0" u="none" baseline="0" dirty="0">
                          <a:effectLst/>
                        </a:rPr>
                        <a:t>Wie schaffen wir Transparenz über die Arbeitsprozesse? </a:t>
                      </a:r>
                    </a:p>
                    <a:p>
                      <a:pPr marL="342900" lvl="0" indent="-342900" algn="l" rtl="0" fontAlgn="base">
                        <a:buFont typeface="Arial" panose="020B0604020202020204" pitchFamily="34" charset="0"/>
                        <a:buChar char="•"/>
                      </a:pPr>
                      <a:r>
                        <a:rPr lang="de-CH" sz="1400" b="0" i="0" u="none" baseline="0" dirty="0">
                          <a:effectLst/>
                        </a:rPr>
                        <a:t>Wie integrieren wir neue Mitarbeitende im Team? </a:t>
                      </a:r>
                    </a:p>
                  </a:txBody>
                  <a:tcPr/>
                </a:tc>
                <a:extLst>
                  <a:ext uri="{0D108BD9-81ED-4DB2-BD59-A6C34878D82A}">
                    <a16:rowId xmlns:a16="http://schemas.microsoft.com/office/drawing/2014/main" val="4091442589"/>
                  </a:ext>
                </a:extLst>
              </a:tr>
              <a:tr h="864769">
                <a:tc>
                  <a:txBody>
                    <a:bodyPr/>
                    <a:lstStyle/>
                    <a:p>
                      <a:pPr algn="l" rtl="0" fontAlgn="base"/>
                      <a:r>
                        <a:rPr lang="de-CH" sz="1400" b="1" i="0" u="none" baseline="0" dirty="0">
                          <a:effectLst/>
                        </a:rPr>
                        <a:t>Infrastruktur </a:t>
                      </a:r>
                      <a:endParaRPr lang="de-CH" sz="1400" dirty="0"/>
                    </a:p>
                    <a:p>
                      <a:pPr marL="342900" lvl="0" indent="-342900" algn="l" rtl="0" fontAlgn="base">
                        <a:buFont typeface="Arial" panose="020B0604020202020204" pitchFamily="34" charset="0"/>
                        <a:buChar char="•"/>
                      </a:pPr>
                      <a:r>
                        <a:rPr lang="de-CH" sz="1400" dirty="0">
                          <a:effectLst/>
                        </a:rPr>
                        <a:t>Wie unterstützt die Infrastruktur unsere Arbeitsweise? </a:t>
                      </a:r>
                    </a:p>
                    <a:p>
                      <a:pPr marL="342900" lvl="0" indent="-342900" algn="l" rtl="0" fontAlgn="base">
                        <a:buFont typeface="Arial" panose="020B0604020202020204" pitchFamily="34" charset="0"/>
                        <a:buChar char="•"/>
                      </a:pPr>
                      <a:r>
                        <a:rPr lang="de-CH" sz="1400" dirty="0">
                          <a:effectLst/>
                        </a:rPr>
                        <a:t>Welche Anpassungen sind nötig und möglich?  </a:t>
                      </a:r>
                      <a:endParaRPr lang="de-CH" sz="1400" b="0" i="0" dirty="0">
                        <a:effectLst/>
                        <a:latin typeface="+mn-lt"/>
                      </a:endParaRPr>
                    </a:p>
                  </a:txBody>
                  <a:tcPr/>
                </a:tc>
                <a:tc>
                  <a:txBody>
                    <a:bodyPr/>
                    <a:lstStyle/>
                    <a:p>
                      <a:pPr algn="l" rtl="0" fontAlgn="base"/>
                      <a:r>
                        <a:rPr lang="de-CH" sz="1400" b="1" i="0" u="none" baseline="0" dirty="0">
                          <a:effectLst/>
                        </a:rPr>
                        <a:t>Technologie</a:t>
                      </a:r>
                    </a:p>
                    <a:p>
                      <a:pPr marL="342900" lvl="0" indent="-342900" algn="l" rtl="0" fontAlgn="base">
                        <a:buFont typeface="Arial" panose="020B0604020202020204" pitchFamily="34" charset="0"/>
                        <a:buChar char="•"/>
                      </a:pPr>
                      <a:r>
                        <a:rPr lang="de-CH" sz="1400" dirty="0">
                          <a:effectLst/>
                        </a:rPr>
                        <a:t>Welche Kommunikationsmittel verwenden wir im Team? </a:t>
                      </a:r>
                    </a:p>
                    <a:p>
                      <a:pPr marL="342900" lvl="0" indent="-342900" algn="l" rtl="0" fontAlgn="base">
                        <a:buFont typeface="Arial" panose="020B0604020202020204" pitchFamily="34" charset="0"/>
                        <a:buChar char="•"/>
                      </a:pPr>
                      <a:r>
                        <a:rPr lang="de-CH" sz="1400" dirty="0">
                          <a:effectLst/>
                        </a:rPr>
                        <a:t>Welche Technologien / Instrumente / Tools verwenden wir bei der Zusammenarbeit und Planung? </a:t>
                      </a:r>
                      <a:endParaRPr lang="de-CH" sz="1400" b="0" i="0" dirty="0">
                        <a:effectLst/>
                        <a:latin typeface="+mn-lt"/>
                      </a:endParaRPr>
                    </a:p>
                  </a:txBody>
                  <a:tcPr/>
                </a:tc>
                <a:extLst>
                  <a:ext uri="{0D108BD9-81ED-4DB2-BD59-A6C34878D82A}">
                    <a16:rowId xmlns:a16="http://schemas.microsoft.com/office/drawing/2014/main" val="3813385813"/>
                  </a:ext>
                </a:extLst>
              </a:tr>
            </a:tbl>
          </a:graphicData>
        </a:graphic>
      </p:graphicFrame>
    </p:spTree>
    <p:extLst>
      <p:ext uri="{BB962C8B-B14F-4D97-AF65-F5344CB8AC3E}">
        <p14:creationId xmlns:p14="http://schemas.microsoft.com/office/powerpoint/2010/main" val="42402567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029420C-BACC-45F4-B59F-60328FEAACD1}"/>
              </a:ext>
            </a:extLst>
          </p:cNvPr>
          <p:cNvGraphicFramePr>
            <a:graphicFrameLocks noChangeAspect="1"/>
          </p:cNvGraphicFramePr>
          <p:nvPr>
            <p:custDataLst>
              <p:tags r:id="rId1"/>
            </p:custDataLst>
            <p:extLst>
              <p:ext uri="{D42A27DB-BD31-4B8C-83A1-F6EECF244321}">
                <p14:modId xmlns:p14="http://schemas.microsoft.com/office/powerpoint/2010/main" val="1625981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7" name="Object 6" hidden="1">
                        <a:extLst>
                          <a:ext uri="{FF2B5EF4-FFF2-40B4-BE49-F238E27FC236}">
                            <a16:creationId xmlns:a16="http://schemas.microsoft.com/office/drawing/2014/main" id="{D029420C-BACC-45F4-B59F-60328FEAAC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Inhaltsplatzhalter 2">
            <a:extLst>
              <a:ext uri="{FF2B5EF4-FFF2-40B4-BE49-F238E27FC236}">
                <a16:creationId xmlns:a16="http://schemas.microsoft.com/office/drawing/2014/main" id="{5344F9C8-B127-4FF7-8C03-12CC8EFA99B9}"/>
              </a:ext>
            </a:extLst>
          </p:cNvPr>
          <p:cNvSpPr>
            <a:spLocks noGrp="1"/>
          </p:cNvSpPr>
          <p:nvPr>
            <p:ph idx="1"/>
          </p:nvPr>
        </p:nvSpPr>
        <p:spPr>
          <a:xfrm>
            <a:off x="731837" y="1412875"/>
            <a:ext cx="10728325" cy="4680000"/>
          </a:xfrm>
        </p:spPr>
        <p:txBody>
          <a:bodyPr/>
          <a:lstStyle/>
          <a:p>
            <a:endParaRPr lang="de-CH" dirty="0"/>
          </a:p>
        </p:txBody>
      </p:sp>
      <p:sp>
        <p:nvSpPr>
          <p:cNvPr id="2" name="Titel 1"/>
          <p:cNvSpPr>
            <a:spLocks noGrp="1"/>
          </p:cNvSpPr>
          <p:nvPr>
            <p:ph type="title"/>
          </p:nvPr>
        </p:nvSpPr>
        <p:spPr/>
        <p:txBody>
          <a:bodyPr vert="horz"/>
          <a:lstStyle/>
          <a:p>
            <a:pPr algn="l"/>
            <a:r>
              <a:rPr lang="de-CH" dirty="0">
                <a:cs typeface="Arial"/>
              </a:rPr>
              <a:t>Vorbereitung für den Workshop</a:t>
            </a:r>
          </a:p>
        </p:txBody>
      </p:sp>
      <p:sp>
        <p:nvSpPr>
          <p:cNvPr id="4" name="Datumsplatzhalter 3"/>
          <p:cNvSpPr>
            <a:spLocks noGrp="1"/>
          </p:cNvSpPr>
          <p:nvPr>
            <p:ph type="dt" sz="half" idx="10"/>
          </p:nvPr>
        </p:nvSpPr>
        <p:spPr/>
        <p:txBody>
          <a:bodyPr/>
          <a:lstStyle/>
          <a:p>
            <a:pPr algn="l"/>
            <a:fld id="{2CDD37A2-F909-49A9-ABD4-0C4F2FFE71BD}"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6</a:t>
            </a:fld>
            <a:endParaRPr lang="de-CH" noProof="0" dirty="0"/>
          </a:p>
        </p:txBody>
      </p:sp>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2111342971"/>
              </p:ext>
            </p:extLst>
          </p:nvPr>
        </p:nvGraphicFramePr>
        <p:xfrm>
          <a:off x="729342" y="1412876"/>
          <a:ext cx="10728325" cy="4859267"/>
        </p:xfrm>
        <a:graphic>
          <a:graphicData uri="http://schemas.openxmlformats.org/drawingml/2006/table">
            <a:tbl>
              <a:tblPr firstRow="1" bandRow="1">
                <a:tableStyleId>{5C22544A-7EE6-4342-B048-85BDC9FD1C3A}</a:tableStyleId>
              </a:tblPr>
              <a:tblGrid>
                <a:gridCol w="1600992">
                  <a:extLst>
                    <a:ext uri="{9D8B030D-6E8A-4147-A177-3AD203B41FA5}">
                      <a16:colId xmlns:a16="http://schemas.microsoft.com/office/drawing/2014/main" val="1714132888"/>
                    </a:ext>
                  </a:extLst>
                </a:gridCol>
                <a:gridCol w="4806190">
                  <a:extLst>
                    <a:ext uri="{9D8B030D-6E8A-4147-A177-3AD203B41FA5}">
                      <a16:colId xmlns:a16="http://schemas.microsoft.com/office/drawing/2014/main" val="1802429230"/>
                    </a:ext>
                  </a:extLst>
                </a:gridCol>
                <a:gridCol w="4321143">
                  <a:extLst>
                    <a:ext uri="{9D8B030D-6E8A-4147-A177-3AD203B41FA5}">
                      <a16:colId xmlns:a16="http://schemas.microsoft.com/office/drawing/2014/main" val="2061069242"/>
                    </a:ext>
                  </a:extLst>
                </a:gridCol>
              </a:tblGrid>
              <a:tr h="266016">
                <a:tc>
                  <a:txBody>
                    <a:bodyPr/>
                    <a:lstStyle/>
                    <a:p>
                      <a:pPr marL="0" algn="l" rtl="0" eaLnBrk="1" latinLnBrk="0" hangingPunct="1">
                        <a:spcBef>
                          <a:spcPts val="0"/>
                        </a:spcBef>
                        <a:spcAft>
                          <a:spcPts val="0"/>
                        </a:spcAft>
                      </a:pPr>
                      <a:r>
                        <a:rPr lang="de-CH" sz="1600" b="1" i="0" u="none" kern="1200" baseline="0" dirty="0">
                          <a:effectLst/>
                        </a:rPr>
                        <a:t>Wann</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Was</a:t>
                      </a:r>
                      <a:endParaRPr lang="de-CH" sz="1600" noProof="0" dirty="0">
                        <a:effectLst/>
                      </a:endParaRPr>
                    </a:p>
                  </a:txBody>
                  <a:tcPr marL="72000" marR="0" marT="0" marB="0" anchor="ctr"/>
                </a:tc>
                <a:tc>
                  <a:txBody>
                    <a:bodyPr/>
                    <a:lstStyle/>
                    <a:p>
                      <a:pPr marL="0" algn="l" rtl="0" eaLnBrk="1" latinLnBrk="0" hangingPunct="1">
                        <a:spcBef>
                          <a:spcPts val="0"/>
                        </a:spcBef>
                        <a:spcAft>
                          <a:spcPts val="0"/>
                        </a:spcAft>
                      </a:pPr>
                      <a:r>
                        <a:rPr lang="de-CH" sz="1600" b="1" i="0" u="none" kern="1200" baseline="0" dirty="0">
                          <a:effectLst/>
                        </a:rPr>
                        <a:t>Material</a:t>
                      </a:r>
                      <a:endParaRPr lang="de-CH" sz="1600" noProof="0" dirty="0">
                        <a:effectLst/>
                      </a:endParaRPr>
                    </a:p>
                  </a:txBody>
                  <a:tcPr marL="72000" marR="0" marT="0" marB="0" anchor="ctr"/>
                </a:tc>
                <a:extLst>
                  <a:ext uri="{0D108BD9-81ED-4DB2-BD59-A6C34878D82A}">
                    <a16:rowId xmlns:a16="http://schemas.microsoft.com/office/drawing/2014/main" val="4223331645"/>
                  </a:ext>
                </a:extLst>
              </a:tr>
              <a:tr h="931056">
                <a:tc>
                  <a:txBody>
                    <a:bodyPr/>
                    <a:lstStyle/>
                    <a:p>
                      <a:pPr marL="0" algn="l" rtl="0" eaLnBrk="1" latinLnBrk="0" hangingPunct="1">
                        <a:spcBef>
                          <a:spcPts val="0"/>
                        </a:spcBef>
                        <a:spcAft>
                          <a:spcPts val="0"/>
                        </a:spcAft>
                      </a:pPr>
                      <a:r>
                        <a:rPr lang="de-CH" sz="1400" kern="1200" noProof="0" dirty="0">
                          <a:effectLst/>
                        </a:rPr>
                        <a:t>Vor dem Versenden der Einladung</a:t>
                      </a:r>
                    </a:p>
                  </a:txBody>
                  <a:tcPr marL="72000" marR="0" marT="0" marB="0"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1400" b="0" i="0" u="none" baseline="0" dirty="0">
                          <a:effectLst/>
                        </a:rPr>
                        <a:t>Workshop Folien </a:t>
                      </a:r>
                      <a:r>
                        <a:rPr lang="de-CH" sz="1400" kern="1200" noProof="0" dirty="0">
                          <a:effectLst/>
                        </a:rPr>
                        <a:t>durchgehen und das Format sowie die Übungen an die eigenen Bedürfnisse anpassen</a:t>
                      </a:r>
                    </a:p>
                    <a:p>
                      <a:pPr marL="285750" lvl="0" indent="-285750" algn="l">
                        <a:spcBef>
                          <a:spcPts val="0"/>
                        </a:spcBef>
                        <a:spcAft>
                          <a:spcPts val="0"/>
                        </a:spcAft>
                        <a:buFont typeface="Arial" panose="020B0604020202020204" pitchFamily="34" charset="0"/>
                        <a:buChar char="•"/>
                      </a:pPr>
                      <a:r>
                        <a:rPr lang="de-CH" sz="1400" kern="1200" noProof="0" dirty="0">
                          <a:effectLst/>
                        </a:rPr>
                        <a:t>Zeitbedarf für den Workshop je nach Anpassungen planen</a:t>
                      </a:r>
                      <a:endParaRPr lang="de-CH" sz="1400" noProof="0" dirty="0"/>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de-CH" sz="1400" b="0" i="0" u="none" baseline="0" dirty="0">
                          <a:effectLst/>
                        </a:rPr>
                        <a:t>Workshop Folien</a:t>
                      </a:r>
                    </a:p>
                    <a:p>
                      <a:pPr marL="285750" indent="-285750" algn="l" rtl="0" eaLnBrk="1" latinLnBrk="0" hangingPunct="1">
                        <a:spcBef>
                          <a:spcPts val="0"/>
                        </a:spcBef>
                        <a:spcAft>
                          <a:spcPts val="0"/>
                        </a:spcAft>
                        <a:buFont typeface="Arial" panose="020B0604020202020204" pitchFamily="34" charset="0"/>
                        <a:buChar char="•"/>
                      </a:pPr>
                      <a:r>
                        <a:rPr lang="de-CH" sz="1400" kern="1200" noProof="0" dirty="0">
                          <a:effectLst/>
                        </a:rPr>
                        <a:t>Eigene Hintergrundinformationen, z. B. bisherige Absprachen, Team-interne Richtlinien etc.</a:t>
                      </a:r>
                    </a:p>
                  </a:txBody>
                  <a:tcPr marL="72000" marR="0" marT="0" marB="0" anchor="ctr"/>
                </a:tc>
                <a:extLst>
                  <a:ext uri="{0D108BD9-81ED-4DB2-BD59-A6C34878D82A}">
                    <a16:rowId xmlns:a16="http://schemas.microsoft.com/office/drawing/2014/main" val="376272414"/>
                  </a:ext>
                </a:extLst>
              </a:tr>
              <a:tr h="931056">
                <a:tc>
                  <a:txBody>
                    <a:bodyPr/>
                    <a:lstStyle/>
                    <a:p>
                      <a:pPr marL="0" algn="l" rtl="0" eaLnBrk="1" latinLnBrk="0" hangingPunct="1">
                        <a:spcBef>
                          <a:spcPts val="0"/>
                        </a:spcBef>
                        <a:spcAft>
                          <a:spcPts val="0"/>
                        </a:spcAft>
                      </a:pPr>
                      <a:r>
                        <a:rPr lang="de-CH" sz="1400" kern="1200" noProof="0" dirty="0">
                          <a:effectLst/>
                        </a:rPr>
                        <a:t>2-4 Wochen vor gewünschtem Workshop-Termin</a:t>
                      </a:r>
                    </a:p>
                  </a:txBody>
                  <a:tcPr marL="72000" marR="0" marT="0" marB="0" anchor="ctr"/>
                </a:tc>
                <a:tc>
                  <a:txBody>
                    <a:bodyPr/>
                    <a:lstStyle/>
                    <a:p>
                      <a:pPr marL="285750" lvl="0" indent="-285750" algn="l">
                        <a:spcBef>
                          <a:spcPts val="0"/>
                        </a:spcBef>
                        <a:spcAft>
                          <a:spcPts val="0"/>
                        </a:spcAft>
                        <a:buFont typeface="Arial" panose="020B0604020202020204" pitchFamily="34" charset="0"/>
                        <a:buChar char="•"/>
                      </a:pPr>
                      <a:r>
                        <a:rPr lang="de-CH" sz="1400" kern="1200" noProof="0" dirty="0">
                          <a:effectLst/>
                        </a:rPr>
                        <a:t>Sitzungszimmer reservieren </a:t>
                      </a:r>
                    </a:p>
                    <a:p>
                      <a:pPr marL="285750" lvl="0" indent="-285750" algn="l">
                        <a:spcBef>
                          <a:spcPts val="0"/>
                        </a:spcBef>
                        <a:spcAft>
                          <a:spcPts val="0"/>
                        </a:spcAft>
                        <a:buFont typeface="Arial" panose="020B0604020202020204" pitchFamily="34" charset="0"/>
                        <a:buChar char="•"/>
                      </a:pPr>
                      <a:r>
                        <a:rPr lang="de-CH" sz="1400" kern="1200" noProof="0" dirty="0">
                          <a:effectLst/>
                        </a:rPr>
                        <a:t>Einladung an Team senden</a:t>
                      </a:r>
                    </a:p>
                    <a:p>
                      <a:pPr marL="285750" lvl="0" indent="-285750" algn="l">
                        <a:spcBef>
                          <a:spcPts val="0"/>
                        </a:spcBef>
                        <a:spcAft>
                          <a:spcPts val="0"/>
                        </a:spcAft>
                        <a:buFont typeface="Arial" panose="020B0604020202020204" pitchFamily="34" charset="0"/>
                        <a:buChar char="•"/>
                      </a:pPr>
                      <a:r>
                        <a:rPr lang="de-CH" sz="1400" kern="1200" noProof="0" dirty="0">
                          <a:effectLst/>
                        </a:rPr>
                        <a:t>Benötigte Infrastruktur sichern (z. B. Pinnwände, Flipcharts)</a:t>
                      </a:r>
                      <a:endParaRPr lang="de-CH" sz="1400" noProof="0" dirty="0"/>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de-CH" sz="1400" b="0" i="0" u="none" kern="1200" baseline="0">
                          <a:effectLst/>
                        </a:rPr>
                        <a:t>Outlook</a:t>
                      </a:r>
                      <a:endParaRPr lang="de-CH" sz="1400" b="0" i="0" u="none" kern="1200" baseline="0" dirty="0">
                        <a:effectLst/>
                      </a:endParaRPr>
                    </a:p>
                  </a:txBody>
                  <a:tcPr marL="72000" marR="0" marT="0" marB="0" anchor="ctr"/>
                </a:tc>
                <a:extLst>
                  <a:ext uri="{0D108BD9-81ED-4DB2-BD59-A6C34878D82A}">
                    <a16:rowId xmlns:a16="http://schemas.microsoft.com/office/drawing/2014/main" val="4208406674"/>
                  </a:ext>
                </a:extLst>
              </a:tr>
              <a:tr h="780625">
                <a:tc>
                  <a:txBody>
                    <a:bodyPr/>
                    <a:lstStyle/>
                    <a:p>
                      <a:pPr marL="0" algn="l" rtl="0" eaLnBrk="1" latinLnBrk="0" hangingPunct="1">
                        <a:spcBef>
                          <a:spcPts val="0"/>
                        </a:spcBef>
                        <a:spcAft>
                          <a:spcPts val="0"/>
                        </a:spcAft>
                      </a:pPr>
                      <a:r>
                        <a:rPr lang="de-CH" sz="1400" kern="1200" noProof="0" dirty="0">
                          <a:effectLst/>
                        </a:rPr>
                        <a:t>1 Woche bis ein paar Tage vor dem Workshop</a:t>
                      </a:r>
                    </a:p>
                  </a:txBody>
                  <a:tcPr marL="72000" marR="0" marT="0" marB="0" anchor="ctr"/>
                </a:tc>
                <a:tc>
                  <a:txBody>
                    <a:bodyPr/>
                    <a:lstStyle/>
                    <a:p>
                      <a:pPr marL="285750" lvl="0" indent="-285750" algn="l">
                        <a:spcBef>
                          <a:spcPts val="0"/>
                        </a:spcBef>
                        <a:spcAft>
                          <a:spcPts val="0"/>
                        </a:spcAft>
                        <a:buFont typeface="Arial" panose="020B0604020202020204" pitchFamily="34" charset="0"/>
                        <a:buChar char="•"/>
                      </a:pPr>
                      <a:r>
                        <a:rPr lang="de-CH" sz="1400" kern="1200" noProof="0" dirty="0">
                          <a:effectLst/>
                        </a:rPr>
                        <a:t>Letzte Detail-Anpassungen bei Bedarf</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de-CH" sz="1400" b="0" i="0" u="none" baseline="0" dirty="0">
                          <a:effectLst/>
                        </a:rPr>
                        <a:t>Workshop Folien</a:t>
                      </a:r>
                    </a:p>
                  </a:txBody>
                  <a:tcPr marL="72000" marR="0" marT="0" marB="0" anchor="ctr"/>
                </a:tc>
                <a:extLst>
                  <a:ext uri="{0D108BD9-81ED-4DB2-BD59-A6C34878D82A}">
                    <a16:rowId xmlns:a16="http://schemas.microsoft.com/office/drawing/2014/main" val="2837530008"/>
                  </a:ext>
                </a:extLst>
              </a:tr>
              <a:tr h="1396584">
                <a:tc>
                  <a:txBody>
                    <a:bodyPr/>
                    <a:lstStyle/>
                    <a:p>
                      <a:pPr marL="0" algn="l" rtl="0" eaLnBrk="1" latinLnBrk="0" hangingPunct="1">
                        <a:spcBef>
                          <a:spcPts val="0"/>
                        </a:spcBef>
                        <a:spcAft>
                          <a:spcPts val="0"/>
                        </a:spcAft>
                      </a:pPr>
                      <a:r>
                        <a:rPr lang="de-CH" sz="1400" kern="1200" noProof="0" dirty="0">
                          <a:effectLst/>
                        </a:rPr>
                        <a:t>Tag des Workshops</a:t>
                      </a:r>
                      <a:endParaRPr lang="de-CH" sz="1400" noProof="0" dirty="0">
                        <a:effectLst/>
                      </a:endParaRPr>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de-CH" sz="1400" kern="1200" noProof="0" dirty="0">
                          <a:effectLst/>
                        </a:rPr>
                        <a:t>Sitzungszimmer vorbereiten</a:t>
                      </a:r>
                    </a:p>
                  </a:txBody>
                  <a:tcPr marL="72000" marR="0" marT="0" marB="0" anchor="ctr"/>
                </a:tc>
                <a:tc>
                  <a:txBody>
                    <a:bodyPr/>
                    <a:lstStyle/>
                    <a:p>
                      <a:pPr marL="285750" lvl="0" indent="-285750" algn="l" rtl="0">
                        <a:spcBef>
                          <a:spcPts val="0"/>
                        </a:spcBef>
                        <a:spcAft>
                          <a:spcPts val="0"/>
                        </a:spcAft>
                        <a:buFont typeface="Arial" panose="020B0604020202020204" pitchFamily="34" charset="0"/>
                        <a:buChar char="•"/>
                      </a:pPr>
                      <a:r>
                        <a:rPr lang="de-CH" sz="1400" b="0" i="0" u="none" baseline="0" dirty="0">
                          <a:effectLst/>
                        </a:rPr>
                        <a:t>Workshop Folien</a:t>
                      </a:r>
                    </a:p>
                    <a:p>
                      <a:pPr marL="285750" lvl="0" indent="-285750" algn="l" rtl="0">
                        <a:spcBef>
                          <a:spcPts val="0"/>
                        </a:spcBef>
                        <a:spcAft>
                          <a:spcPts val="0"/>
                        </a:spcAft>
                        <a:buFont typeface="Arial" panose="020B0604020202020204" pitchFamily="34" charset="0"/>
                        <a:buChar char="•"/>
                      </a:pPr>
                      <a:r>
                        <a:rPr lang="de-CH" sz="1400" b="0" i="0" u="none" baseline="0" dirty="0">
                          <a:effectLst/>
                        </a:rPr>
                        <a:t>Farbige Klebepunkte </a:t>
                      </a:r>
                    </a:p>
                    <a:p>
                      <a:pPr marL="285750" lvl="0" indent="-285750" algn="l" rtl="0">
                        <a:spcBef>
                          <a:spcPts val="0"/>
                        </a:spcBef>
                        <a:spcAft>
                          <a:spcPts val="0"/>
                        </a:spcAft>
                        <a:buFont typeface="Arial" panose="020B0604020202020204" pitchFamily="34" charset="0"/>
                        <a:buChar char="•"/>
                      </a:pPr>
                      <a:r>
                        <a:rPr lang="de-CH" sz="1400" b="0" i="0" u="none" baseline="0" dirty="0">
                          <a:effectLst/>
                        </a:rPr>
                        <a:t>Haftnotizen oder Moderationskarten</a:t>
                      </a:r>
                    </a:p>
                    <a:p>
                      <a:pPr marL="285750" lvl="0" indent="-285750" algn="l" rtl="0">
                        <a:spcBef>
                          <a:spcPts val="0"/>
                        </a:spcBef>
                        <a:spcAft>
                          <a:spcPts val="0"/>
                        </a:spcAft>
                        <a:buFont typeface="Arial" panose="020B0604020202020204" pitchFamily="34" charset="0"/>
                        <a:buChar char="•"/>
                      </a:pPr>
                      <a:r>
                        <a:rPr lang="de-CH" sz="1400" b="0" i="0" u="none" baseline="0" dirty="0">
                          <a:effectLst/>
                        </a:rPr>
                        <a:t>Flipcharts und/oder Pinnwände</a:t>
                      </a:r>
                    </a:p>
                    <a:p>
                      <a:pPr marL="285750" lvl="0" indent="-285750" algn="l" rtl="0">
                        <a:spcBef>
                          <a:spcPts val="0"/>
                        </a:spcBef>
                        <a:spcAft>
                          <a:spcPts val="0"/>
                        </a:spcAft>
                        <a:buFont typeface="Arial" panose="020B0604020202020204" pitchFamily="34" charset="0"/>
                        <a:buChar char="•"/>
                      </a:pPr>
                      <a:r>
                        <a:rPr lang="de-CH" sz="1400" b="0" i="0" u="none" baseline="0" dirty="0">
                          <a:effectLst/>
                        </a:rPr>
                        <a:t>Marker</a:t>
                      </a:r>
                    </a:p>
                    <a:p>
                      <a:pPr marL="285750" lvl="0" indent="-285750" algn="l" rtl="0">
                        <a:spcBef>
                          <a:spcPts val="0"/>
                        </a:spcBef>
                        <a:spcAft>
                          <a:spcPts val="0"/>
                        </a:spcAft>
                        <a:buFont typeface="Arial" panose="020B0604020202020204" pitchFamily="34" charset="0"/>
                        <a:buChar char="•"/>
                      </a:pPr>
                      <a:r>
                        <a:rPr lang="de-CH" sz="1400" b="0" i="0" u="none" baseline="0" dirty="0">
                          <a:effectLst/>
                        </a:rPr>
                        <a:t>Getränke und Snacks, falls erforderlich</a:t>
                      </a:r>
                    </a:p>
                    <a:p>
                      <a:pPr marL="285750" lvl="0" indent="-285750" algn="l" rtl="0">
                        <a:spcBef>
                          <a:spcPts val="0"/>
                        </a:spcBef>
                        <a:spcAft>
                          <a:spcPts val="0"/>
                        </a:spcAft>
                        <a:buFont typeface="Arial" panose="020B0604020202020204" pitchFamily="34" charset="0"/>
                        <a:buChar char="•"/>
                      </a:pPr>
                      <a:r>
                        <a:rPr lang="de-CH" sz="1400" b="0" i="0" u="none" baseline="0" dirty="0">
                          <a:effectLst/>
                        </a:rPr>
                        <a:t>Sonstige Materialien nach Bedarf</a:t>
                      </a:r>
                    </a:p>
                  </a:txBody>
                  <a:tcPr marL="72000" marR="0" marT="0" marB="0" anchor="ctr"/>
                </a:tc>
                <a:extLst>
                  <a:ext uri="{0D108BD9-81ED-4DB2-BD59-A6C34878D82A}">
                    <a16:rowId xmlns:a16="http://schemas.microsoft.com/office/drawing/2014/main" val="503110164"/>
                  </a:ext>
                </a:extLst>
              </a:tr>
              <a:tr h="456994">
                <a:tc>
                  <a:txBody>
                    <a:bodyPr/>
                    <a:lstStyle/>
                    <a:p>
                      <a:pPr marL="0" algn="l" rtl="0" eaLnBrk="1" latinLnBrk="0" hangingPunct="1">
                        <a:spcBef>
                          <a:spcPts val="0"/>
                        </a:spcBef>
                        <a:spcAft>
                          <a:spcPts val="0"/>
                        </a:spcAft>
                      </a:pPr>
                      <a:r>
                        <a:rPr lang="de-CH" sz="1400" noProof="0" dirty="0">
                          <a:effectLst/>
                        </a:rPr>
                        <a:t>Im Nachgang</a:t>
                      </a:r>
                    </a:p>
                  </a:txBody>
                  <a:tcPr marL="72000" marR="0" marT="0" marB="0" anchor="ctr"/>
                </a:tc>
                <a:tc>
                  <a:txBody>
                    <a:bodyPr/>
                    <a:lstStyle/>
                    <a:p>
                      <a:pPr marL="285750" indent="-285750" algn="l" rtl="0" eaLnBrk="1" latinLnBrk="0" hangingPunct="1">
                        <a:spcBef>
                          <a:spcPts val="0"/>
                        </a:spcBef>
                        <a:spcAft>
                          <a:spcPts val="0"/>
                        </a:spcAft>
                        <a:buFont typeface="Arial" panose="020B0604020202020204" pitchFamily="34" charset="0"/>
                        <a:buChar char="•"/>
                      </a:pPr>
                      <a:r>
                        <a:rPr lang="de-CH" sz="1400" kern="1200" noProof="0" dirty="0">
                          <a:effectLst/>
                        </a:rPr>
                        <a:t>Versand eines Foto-Protokolls der erarbeiteten Ergebnisse</a:t>
                      </a:r>
                    </a:p>
                  </a:txBody>
                  <a:tcPr marL="72000" marR="0" marT="0" marB="0" anchor="ctr"/>
                </a:tc>
                <a:tc>
                  <a:txBody>
                    <a:bodyPr/>
                    <a:lstStyle/>
                    <a:p>
                      <a:pPr marL="285750" lvl="0" indent="-285750" algn="l">
                        <a:spcBef>
                          <a:spcPts val="0"/>
                        </a:spcBef>
                        <a:spcAft>
                          <a:spcPts val="0"/>
                        </a:spcAft>
                        <a:buFont typeface="Arial" panose="020B0604020202020204" pitchFamily="34" charset="0"/>
                        <a:buChar char="•"/>
                      </a:pPr>
                      <a:r>
                        <a:rPr lang="de-CH" sz="1400" noProof="0" dirty="0">
                          <a:effectLst/>
                        </a:rPr>
                        <a:t>Fotos von Flipcharts, Pinnwänden etc. + andere festgehaltene Vereinbarungen</a:t>
                      </a:r>
                    </a:p>
                  </a:txBody>
                  <a:tcPr marL="72000" marR="0" marT="0" marB="0" anchor="ctr"/>
                </a:tc>
                <a:extLst>
                  <a:ext uri="{0D108BD9-81ED-4DB2-BD59-A6C34878D82A}">
                    <a16:rowId xmlns:a16="http://schemas.microsoft.com/office/drawing/2014/main" val="747358982"/>
                  </a:ext>
                </a:extLst>
              </a:tr>
            </a:tbl>
          </a:graphicData>
        </a:graphic>
      </p:graphicFrame>
      <p:sp>
        <p:nvSpPr>
          <p:cNvPr id="3" name="TextBox 2">
            <a:extLst>
              <a:ext uri="{FF2B5EF4-FFF2-40B4-BE49-F238E27FC236}">
                <a16:creationId xmlns:a16="http://schemas.microsoft.com/office/drawing/2014/main" id="{7A042853-0D90-4A81-96A2-3E339984207D}"/>
              </a:ext>
            </a:extLst>
          </p:cNvPr>
          <p:cNvSpPr txBox="1"/>
          <p:nvPr/>
        </p:nvSpPr>
        <p:spPr>
          <a:xfrm>
            <a:off x="631369" y="914400"/>
            <a:ext cx="827314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de-CH" dirty="0"/>
              <a:t>Empfehlung: alle Teammitglieder sind physisch anwesend</a:t>
            </a:r>
          </a:p>
        </p:txBody>
      </p:sp>
      <p:sp>
        <p:nvSpPr>
          <p:cNvPr id="9" name="Rechteck 8">
            <a:extLst>
              <a:ext uri="{FF2B5EF4-FFF2-40B4-BE49-F238E27FC236}">
                <a16:creationId xmlns:a16="http://schemas.microsoft.com/office/drawing/2014/main" id="{89A99E02-2595-4654-A914-9755D7AC0719}"/>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2700500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6BFE735-7DEC-F7BC-933D-DAC2EC342B0C}"/>
              </a:ext>
            </a:extLst>
          </p:cNvPr>
          <p:cNvGraphicFramePr>
            <a:graphicFrameLocks noChangeAspect="1"/>
          </p:cNvGraphicFramePr>
          <p:nvPr>
            <p:custDataLst>
              <p:tags r:id="rId1"/>
            </p:custDataLst>
            <p:extLst>
              <p:ext uri="{D42A27DB-BD31-4B8C-83A1-F6EECF244321}">
                <p14:modId xmlns:p14="http://schemas.microsoft.com/office/powerpoint/2010/main" val="2628609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36BFE735-7DEC-F7BC-933D-DAC2EC342B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932298752"/>
              </p:ext>
            </p:extLst>
          </p:nvPr>
        </p:nvGraphicFramePr>
        <p:xfrm>
          <a:off x="731837" y="1478191"/>
          <a:ext cx="10728328" cy="5018107"/>
        </p:xfrm>
        <a:graphic>
          <a:graphicData uri="http://schemas.openxmlformats.org/drawingml/2006/table">
            <a:tbl>
              <a:tblPr firstRow="1" bandRow="1">
                <a:tableStyleId>{5C22544A-7EE6-4342-B048-85BDC9FD1C3A}</a:tableStyleId>
              </a:tblPr>
              <a:tblGrid>
                <a:gridCol w="719276">
                  <a:extLst>
                    <a:ext uri="{9D8B030D-6E8A-4147-A177-3AD203B41FA5}">
                      <a16:colId xmlns:a16="http://schemas.microsoft.com/office/drawing/2014/main" val="1714132888"/>
                    </a:ext>
                  </a:extLst>
                </a:gridCol>
                <a:gridCol w="1300646">
                  <a:extLst>
                    <a:ext uri="{9D8B030D-6E8A-4147-A177-3AD203B41FA5}">
                      <a16:colId xmlns:a16="http://schemas.microsoft.com/office/drawing/2014/main" val="3593074681"/>
                    </a:ext>
                  </a:extLst>
                </a:gridCol>
                <a:gridCol w="5074418">
                  <a:extLst>
                    <a:ext uri="{9D8B030D-6E8A-4147-A177-3AD203B41FA5}">
                      <a16:colId xmlns:a16="http://schemas.microsoft.com/office/drawing/2014/main" val="1802429230"/>
                    </a:ext>
                  </a:extLst>
                </a:gridCol>
                <a:gridCol w="1816994">
                  <a:extLst>
                    <a:ext uri="{9D8B030D-6E8A-4147-A177-3AD203B41FA5}">
                      <a16:colId xmlns:a16="http://schemas.microsoft.com/office/drawing/2014/main" val="3871929852"/>
                    </a:ext>
                  </a:extLst>
                </a:gridCol>
                <a:gridCol w="1816994">
                  <a:extLst>
                    <a:ext uri="{9D8B030D-6E8A-4147-A177-3AD203B41FA5}">
                      <a16:colId xmlns:a16="http://schemas.microsoft.com/office/drawing/2014/main" val="2061069242"/>
                    </a:ext>
                  </a:extLst>
                </a:gridCol>
              </a:tblGrid>
              <a:tr h="343367">
                <a:tc>
                  <a:txBody>
                    <a:bodyPr/>
                    <a:lstStyle/>
                    <a:p>
                      <a:pPr marL="0" algn="l" rtl="0" eaLnBrk="1" latinLnBrk="0" hangingPunct="1">
                        <a:spcBef>
                          <a:spcPts val="0"/>
                        </a:spcBef>
                        <a:spcAft>
                          <a:spcPts val="0"/>
                        </a:spcAft>
                      </a:pPr>
                      <a:r>
                        <a:rPr lang="de-CH" sz="1100" b="1" i="0" u="none" kern="1200" baseline="0" noProof="0" dirty="0">
                          <a:effectLst/>
                        </a:rPr>
                        <a:t>Zeit</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1" i="0" u="none" baseline="0" noProof="0" dirty="0">
                          <a:effectLst/>
                        </a:rPr>
                        <a:t>Agenda Punkt</a:t>
                      </a:r>
                    </a:p>
                  </a:txBody>
                  <a:tcPr marL="72000" marR="0" marT="0" marB="0" anchor="ctr"/>
                </a:tc>
                <a:tc>
                  <a:txBody>
                    <a:bodyPr/>
                    <a:lstStyle/>
                    <a:p>
                      <a:pPr marL="0" algn="l" rtl="0" eaLnBrk="1" latinLnBrk="0" hangingPunct="1">
                        <a:spcBef>
                          <a:spcPts val="0"/>
                        </a:spcBef>
                        <a:spcAft>
                          <a:spcPts val="0"/>
                        </a:spcAft>
                      </a:pPr>
                      <a:r>
                        <a:rPr lang="de-CH" sz="1100" b="1" i="0" u="none" kern="1200" baseline="0" noProof="0" dirty="0">
                          <a:effectLst/>
                        </a:rPr>
                        <a:t>Was</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1" i="0" u="none" baseline="0" noProof="0" dirty="0">
                          <a:effectLst/>
                        </a:rPr>
                        <a:t>Wozu?</a:t>
                      </a:r>
                    </a:p>
                  </a:txBody>
                  <a:tcPr marL="72000" marR="0" marT="0" marB="0" anchor="ctr"/>
                </a:tc>
                <a:tc>
                  <a:txBody>
                    <a:bodyPr/>
                    <a:lstStyle/>
                    <a:p>
                      <a:pPr marL="0" algn="l" rtl="0" eaLnBrk="1" latinLnBrk="0" hangingPunct="1">
                        <a:spcBef>
                          <a:spcPts val="0"/>
                        </a:spcBef>
                        <a:spcAft>
                          <a:spcPts val="0"/>
                        </a:spcAft>
                      </a:pPr>
                      <a:r>
                        <a:rPr lang="de-CH" sz="1100" b="1" i="0" u="none" kern="1200" baseline="0" noProof="0" dirty="0">
                          <a:effectLst/>
                        </a:rPr>
                        <a:t>Material</a:t>
                      </a:r>
                      <a:endParaRPr lang="de-CH" sz="1100" noProof="0" dirty="0">
                        <a:effectLst/>
                      </a:endParaRPr>
                    </a:p>
                  </a:txBody>
                  <a:tcPr marL="72000" marR="0" marT="0" marB="0" anchor="ctr"/>
                </a:tc>
                <a:extLst>
                  <a:ext uri="{0D108BD9-81ED-4DB2-BD59-A6C34878D82A}">
                    <a16:rowId xmlns:a16="http://schemas.microsoft.com/office/drawing/2014/main" val="4223331645"/>
                  </a:ext>
                </a:extLst>
              </a:tr>
              <a:tr h="728017">
                <a:tc>
                  <a:txBody>
                    <a:bodyPr/>
                    <a:lstStyle/>
                    <a:p>
                      <a:pPr marL="0" algn="l" rtl="0" eaLnBrk="1" latinLnBrk="0" hangingPunct="1">
                        <a:spcBef>
                          <a:spcPts val="0"/>
                        </a:spcBef>
                        <a:spcAft>
                          <a:spcPts val="0"/>
                        </a:spcAft>
                      </a:pPr>
                      <a:r>
                        <a:rPr lang="de-CH" sz="1100" b="0" i="0" u="none" kern="1200" baseline="0" noProof="0" dirty="0">
                          <a:effectLst/>
                        </a:rPr>
                        <a:t>10 Min.</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endParaRPr lang="de-CH" sz="1100" b="0" i="0" u="none" kern="1200" baseline="0" noProof="0" dirty="0">
                        <a:effectLst/>
                      </a:endParaRPr>
                    </a:p>
                    <a:p>
                      <a:pPr marL="0" algn="l" rtl="0" eaLnBrk="1" latinLnBrk="0" hangingPunct="1">
                        <a:spcBef>
                          <a:spcPts val="0"/>
                        </a:spcBef>
                        <a:spcAft>
                          <a:spcPts val="0"/>
                        </a:spcAft>
                      </a:pPr>
                      <a:r>
                        <a:rPr lang="de-CH" sz="1100" b="0" i="0" u="none" kern="1200" baseline="0" noProof="0" dirty="0">
                          <a:effectLst/>
                        </a:rPr>
                        <a:t>Begrüssen Sie die Teilnehmenden, erklären Sie den Ablauf und die Ziele des Workshops</a:t>
                      </a:r>
                    </a:p>
                    <a:p>
                      <a:pPr marL="0" algn="l" rtl="0" eaLnBrk="1" latinLnBrk="0" hangingPunct="1">
                        <a:spcBef>
                          <a:spcPts val="0"/>
                        </a:spcBef>
                        <a:spcAft>
                          <a:spcPts val="0"/>
                        </a:spcAft>
                      </a:pP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0" i="0" u="none" kern="1200" baseline="0" noProof="0" dirty="0">
                          <a:effectLst/>
                        </a:rPr>
                        <a:t>Nutzen Sie die Präsentationsfolien und die bereitgestellten Hintergrundinformationen, um zu erklären, warum es Ihnen wichtig ist, dieses Thema mit Ihrem Team zu besprechen.</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0" i="0" u="none" baseline="0" noProof="0" dirty="0">
                          <a:effectLst/>
                        </a:rPr>
                        <a:t>Legen Sie den Rahmen fest, schaffen Sie eine Atmosphäre, die einer offenen Diskussion förderlich ist</a:t>
                      </a:r>
                    </a:p>
                  </a:txBody>
                  <a:tcPr marL="72000" marR="0" marT="0" marB="0" anchor="ctr"/>
                </a:tc>
                <a:tc>
                  <a:txBody>
                    <a:bodyPr/>
                    <a:lstStyle/>
                    <a:p>
                      <a:pPr marL="0" algn="l" rtl="0" eaLnBrk="1" latinLnBrk="0" hangingPunct="1">
                        <a:spcBef>
                          <a:spcPts val="0"/>
                        </a:spcBef>
                        <a:spcAft>
                          <a:spcPts val="0"/>
                        </a:spcAft>
                      </a:pPr>
                      <a:r>
                        <a:rPr lang="de-CH" sz="1100" b="0" i="0" u="none" kern="1200" baseline="0" noProof="0" dirty="0">
                          <a:effectLst/>
                        </a:rPr>
                        <a:t>Folien: Grundlegende Prinzipien für die Arbeit von zu Hause aus; Entwicklung eines Teamkonsenses; Ablauf des Workshops</a:t>
                      </a:r>
                      <a:endParaRPr lang="de-CH" sz="1100" noProof="0" dirty="0">
                        <a:effectLst/>
                      </a:endParaRPr>
                    </a:p>
                  </a:txBody>
                  <a:tcPr marL="72000" marR="0" marT="0" marB="0" anchor="ctr"/>
                </a:tc>
                <a:extLst>
                  <a:ext uri="{0D108BD9-81ED-4DB2-BD59-A6C34878D82A}">
                    <a16:rowId xmlns:a16="http://schemas.microsoft.com/office/drawing/2014/main" val="4208406674"/>
                  </a:ext>
                </a:extLst>
              </a:tr>
              <a:tr h="585847">
                <a:tc>
                  <a:txBody>
                    <a:bodyPr/>
                    <a:lstStyle/>
                    <a:p>
                      <a:pPr marL="0" algn="l" rtl="0" eaLnBrk="1" latinLnBrk="0" hangingPunct="1">
                        <a:spcBef>
                          <a:spcPts val="0"/>
                        </a:spcBef>
                        <a:spcAft>
                          <a:spcPts val="0"/>
                        </a:spcAft>
                      </a:pPr>
                      <a:r>
                        <a:rPr lang="de-CH" sz="1100" b="0" i="0" u="none" kern="1200" baseline="0" noProof="0" dirty="0">
                          <a:effectLst/>
                        </a:rPr>
                        <a:t>20 Min.</a:t>
                      </a:r>
                      <a:endParaRPr lang="de-CH" sz="1100" noProof="0" dirty="0">
                        <a:effectLst/>
                      </a:endParaRPr>
                    </a:p>
                  </a:txBody>
                  <a:tcPr marL="72000" marR="0" marT="0" marB="0" anchor="ctr"/>
                </a:tc>
                <a:tc>
                  <a:txBody>
                    <a:bodyPr/>
                    <a:lstStyle/>
                    <a:p>
                      <a:pPr marL="0" lvl="0" algn="l" rtl="0">
                        <a:spcBef>
                          <a:spcPts val="0"/>
                        </a:spcBef>
                        <a:spcAft>
                          <a:spcPts val="0"/>
                        </a:spcAft>
                        <a:buNone/>
                      </a:pPr>
                      <a:r>
                        <a:rPr lang="de-CH" sz="1100" b="0" i="0" u="none" kern="1200" baseline="0" noProof="0" dirty="0">
                          <a:effectLst/>
                        </a:rPr>
                        <a:t>Check-in</a:t>
                      </a:r>
                    </a:p>
                  </a:txBody>
                  <a:tcPr marL="72000" marR="0" marT="0" marB="0" anchor="ctr"/>
                </a:tc>
                <a:tc>
                  <a:txBody>
                    <a:bodyPr/>
                    <a:lstStyle/>
                    <a:p>
                      <a:pPr marL="0" algn="l" rtl="0" eaLnBrk="1" latinLnBrk="0" hangingPunct="1">
                        <a:spcBef>
                          <a:spcPts val="0"/>
                        </a:spcBef>
                        <a:spcAft>
                          <a:spcPts val="0"/>
                        </a:spcAft>
                      </a:pPr>
                      <a:endParaRPr lang="de-CH" sz="1100" b="0" i="0" u="none" kern="1200" baseline="0" noProof="0" dirty="0">
                        <a:effectLst/>
                      </a:endParaRPr>
                    </a:p>
                    <a:p>
                      <a:pPr marL="0" algn="l" rtl="0" eaLnBrk="1" latinLnBrk="0" hangingPunct="1">
                        <a:spcBef>
                          <a:spcPts val="0"/>
                        </a:spcBef>
                        <a:spcAft>
                          <a:spcPts val="0"/>
                        </a:spcAft>
                      </a:pPr>
                      <a:r>
                        <a:rPr lang="de-CH" sz="1100" b="0" i="0" u="none" kern="1200" baseline="0" noProof="0" dirty="0">
                          <a:effectLst/>
                        </a:rPr>
                        <a:t>Ein paar Minuten pro Teilnehmende. </a:t>
                      </a:r>
                    </a:p>
                    <a:p>
                      <a:pPr marL="0" algn="l" rtl="0" eaLnBrk="1" latinLnBrk="0" hangingPunct="1">
                        <a:spcBef>
                          <a:spcPts val="0"/>
                        </a:spcBef>
                        <a:spcAft>
                          <a:spcPts val="0"/>
                        </a:spcAft>
                      </a:pPr>
                      <a:r>
                        <a:rPr lang="de-CH" sz="1100" b="0" i="0" u="none" kern="1200" baseline="0" noProof="0" dirty="0">
                          <a:effectLst/>
                        </a:rPr>
                        <a:t>Hier geht es um eine allgemeine Aufwärmrunde, um miteinander in Kontakt zu kommen, ohne dass Sie bereits auf bestimmte Themen eingehen.</a:t>
                      </a:r>
                    </a:p>
                    <a:p>
                      <a:pPr marL="0" algn="l" rtl="0" eaLnBrk="1" latinLnBrk="0" hangingPunct="1">
                        <a:spcBef>
                          <a:spcPts val="0"/>
                        </a:spcBef>
                        <a:spcAft>
                          <a:spcPts val="0"/>
                        </a:spcAft>
                      </a:pPr>
                      <a:endParaRPr lang="de-CH" sz="1100" b="0" i="0" u="none" kern="1200" baseline="0" noProof="0" dirty="0">
                        <a:effectLst/>
                      </a:endParaRPr>
                    </a:p>
                  </a:txBody>
                  <a:tcPr marL="72000" marR="0" marT="0" marB="0" anchor="ctr"/>
                </a:tc>
                <a:tc>
                  <a:txBody>
                    <a:bodyPr/>
                    <a:lstStyle/>
                    <a:p>
                      <a:pPr marL="0" algn="l" rtl="0" eaLnBrk="1" latinLnBrk="0" hangingPunct="1">
                        <a:spcBef>
                          <a:spcPts val="0"/>
                        </a:spcBef>
                        <a:spcAft>
                          <a:spcPts val="0"/>
                        </a:spcAft>
                      </a:pPr>
                      <a:r>
                        <a:rPr lang="de-CH" sz="1100" b="0" i="0" u="none" baseline="0" noProof="0" dirty="0">
                          <a:effectLst/>
                        </a:rPr>
                        <a:t>Warm-up</a:t>
                      </a:r>
                    </a:p>
                  </a:txBody>
                  <a:tcPr marL="72000" marR="0" marT="0" marB="0" anchor="ctr"/>
                </a:tc>
                <a:tc>
                  <a:txBody>
                    <a:bodyPr/>
                    <a:lstStyle/>
                    <a:p>
                      <a:pPr marL="0" algn="l" rtl="0" eaLnBrk="1" latinLnBrk="0" hangingPunct="1">
                        <a:spcBef>
                          <a:spcPts val="0"/>
                        </a:spcBef>
                        <a:spcAft>
                          <a:spcPts val="0"/>
                        </a:spcAft>
                      </a:pPr>
                      <a:r>
                        <a:rPr lang="de-CH" sz="1100" b="0" i="0" u="none" kern="1200" baseline="0" noProof="0" dirty="0">
                          <a:effectLst/>
                        </a:rPr>
                        <a:t>Folie: Check-in (Beispielaktivität)</a:t>
                      </a:r>
                      <a:endParaRPr lang="de-CH" sz="1100" noProof="0" dirty="0">
                        <a:effectLst/>
                      </a:endParaRPr>
                    </a:p>
                  </a:txBody>
                  <a:tcPr marL="72000" marR="0" marT="0" marB="0" anchor="ctr"/>
                </a:tc>
                <a:extLst>
                  <a:ext uri="{0D108BD9-81ED-4DB2-BD59-A6C34878D82A}">
                    <a16:rowId xmlns:a16="http://schemas.microsoft.com/office/drawing/2014/main" val="2837530008"/>
                  </a:ext>
                </a:extLst>
              </a:tr>
              <a:tr h="819020">
                <a:tc>
                  <a:txBody>
                    <a:bodyPr/>
                    <a:lstStyle/>
                    <a:p>
                      <a:pPr marL="0" algn="l" rtl="0" eaLnBrk="1" latinLnBrk="0" hangingPunct="1">
                        <a:spcBef>
                          <a:spcPts val="0"/>
                        </a:spcBef>
                        <a:spcAft>
                          <a:spcPts val="0"/>
                        </a:spcAft>
                      </a:pPr>
                      <a:r>
                        <a:rPr lang="de-CH" sz="1100" b="0" i="0" u="none" kern="1200" baseline="0" noProof="0" dirty="0">
                          <a:effectLst/>
                        </a:rPr>
                        <a:t>30 Min.</a:t>
                      </a:r>
                      <a:endParaRPr lang="de-CH" sz="11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100" b="0" i="0" u="none" kern="1200" baseline="0" noProof="0" dirty="0">
                          <a:effectLst/>
                        </a:rPr>
                        <a:t>Zusammenarbeit (Übung)</a:t>
                      </a:r>
                    </a:p>
                  </a:txBody>
                  <a:tcPr marL="72000" marR="0" marT="0" marB="0" anchor="ctr"/>
                </a:tc>
                <a:tc>
                  <a:txBody>
                    <a:bodyPr/>
                    <a:lstStyle/>
                    <a:p>
                      <a:pPr marL="0" algn="l" rtl="0" eaLnBrk="1" latinLnBrk="0" hangingPunct="1">
                        <a:spcBef>
                          <a:spcPts val="0"/>
                        </a:spcBef>
                        <a:spcAft>
                          <a:spcPts val="0"/>
                        </a:spcAft>
                      </a:pPr>
                      <a:r>
                        <a:rPr lang="de-CH" sz="1100" b="0" i="0" u="none" kern="1200" baseline="0" noProof="0" dirty="0">
                          <a:effectLst/>
                        </a:rPr>
                        <a:t>Die Teilnehmenden entwickeln Ideen und Lösungen für die Organisation der Zusammenarbeit, wobei der Schwerpunkt auf der Ausgewogenheit von Präsenz- und standortunabhängigem Arbeiten, der Transparenz der Arbeitszeiten und -orte sowie den Kommunikationsplänen liegt. Diese Ideen werden dann gebündelt und in einer 15-minütigen offenen Diskussion diskutiert.</a:t>
                      </a:r>
                      <a:endParaRPr lang="de-CH" sz="1100" b="0" noProof="0" dirty="0">
                        <a:solidFill>
                          <a:schemeClr val="tx1"/>
                        </a:solidFill>
                        <a:cs typeface="Arial"/>
                      </a:endParaRPr>
                    </a:p>
                  </a:txBody>
                  <a:tcPr marL="72000" marR="0" marT="0" marB="0" anchor="ctr"/>
                </a:tc>
                <a:tc>
                  <a:txBody>
                    <a:bodyPr/>
                    <a:lstStyle/>
                    <a:p>
                      <a:pPr marL="0" algn="l" rtl="0" eaLnBrk="1" latinLnBrk="0" hangingPunct="1">
                        <a:spcBef>
                          <a:spcPts val="0"/>
                        </a:spcBef>
                        <a:spcAft>
                          <a:spcPts val="0"/>
                        </a:spcAft>
                      </a:pPr>
                      <a:r>
                        <a:rPr lang="de-CH" sz="1100" b="0" i="0" u="none" baseline="0" noProof="0" dirty="0">
                          <a:effectLst/>
                        </a:rPr>
                        <a:t>Reflexion, offene Diskussion, Transparenz, Generierung neuer Ideen und Konsensfindung</a:t>
                      </a:r>
                    </a:p>
                  </a:txBody>
                  <a:tcPr marL="72000" marR="0" marT="0" marB="0" anchor="ctr"/>
                </a:tc>
                <a:tc>
                  <a:txBody>
                    <a:bodyPr/>
                    <a:lstStyle/>
                    <a:p>
                      <a:pPr marL="0" algn="l" rtl="0" eaLnBrk="1" latinLnBrk="0" hangingPunct="1">
                        <a:spcBef>
                          <a:spcPts val="0"/>
                        </a:spcBef>
                        <a:spcAft>
                          <a:spcPts val="0"/>
                        </a:spcAft>
                      </a:pPr>
                      <a:endParaRPr lang="de-CH" sz="1100" b="0" i="0" u="none" baseline="0" noProof="0" dirty="0">
                        <a:effectLst/>
                      </a:endParaRPr>
                    </a:p>
                    <a:p>
                      <a:pPr marL="0" algn="l" rtl="0" eaLnBrk="1" latinLnBrk="0" hangingPunct="1">
                        <a:spcBef>
                          <a:spcPts val="0"/>
                        </a:spcBef>
                        <a:spcAft>
                          <a:spcPts val="0"/>
                        </a:spcAft>
                      </a:pPr>
                      <a:r>
                        <a:rPr lang="de-CH" sz="1100" b="0" i="0" u="none" baseline="0" noProof="0" dirty="0">
                          <a:effectLst/>
                        </a:rPr>
                        <a:t>Folien: Aufgabe Zusammenarbeit; Zusammenarbeit - Fragen und Perspektiven. Materialien: Moderationskarten oder Post-</a:t>
                      </a:r>
                      <a:r>
                        <a:rPr lang="de-CH" sz="1100" b="0" i="0" u="none" baseline="0" noProof="0" dirty="0" err="1">
                          <a:effectLst/>
                        </a:rPr>
                        <a:t>Its</a:t>
                      </a:r>
                      <a:r>
                        <a:rPr lang="de-CH" sz="1100" b="0" i="0" u="none" baseline="0" noProof="0" dirty="0">
                          <a:effectLst/>
                        </a:rPr>
                        <a:t>, eine Pinnwand und einige Stifte oder Marker.</a:t>
                      </a:r>
                    </a:p>
                    <a:p>
                      <a:pPr marL="0" algn="l" rtl="0" eaLnBrk="1" latinLnBrk="0" hangingPunct="1">
                        <a:spcBef>
                          <a:spcPts val="0"/>
                        </a:spcBef>
                        <a:spcAft>
                          <a:spcPts val="0"/>
                        </a:spcAft>
                      </a:pPr>
                      <a:endParaRPr lang="de-CH" sz="1100" b="0" i="0" u="none" baseline="0" noProof="0" dirty="0">
                        <a:effectLst/>
                      </a:endParaRPr>
                    </a:p>
                  </a:txBody>
                  <a:tcPr marL="72000" marR="0" marT="0" marB="0" anchor="ctr"/>
                </a:tc>
                <a:extLst>
                  <a:ext uri="{0D108BD9-81ED-4DB2-BD59-A6C34878D82A}">
                    <a16:rowId xmlns:a16="http://schemas.microsoft.com/office/drawing/2014/main" val="503110164"/>
                  </a:ext>
                </a:extLst>
              </a:tr>
              <a:tr h="819020">
                <a:tc>
                  <a:txBody>
                    <a:bodyPr/>
                    <a:lstStyle/>
                    <a:p>
                      <a:pPr marL="0" lvl="0" algn="l" rtl="0">
                        <a:spcBef>
                          <a:spcPts val="0"/>
                        </a:spcBef>
                        <a:spcAft>
                          <a:spcPts val="0"/>
                        </a:spcAft>
                        <a:buNone/>
                      </a:pPr>
                      <a:r>
                        <a:rPr lang="de-CH" sz="1100" b="0" i="0" u="none" kern="1200" baseline="0" noProof="0" dirty="0">
                          <a:effectLst/>
                        </a:rPr>
                        <a:t>10 Min.</a:t>
                      </a:r>
                    </a:p>
                  </a:txBody>
                  <a:tcPr marL="72000" marR="0" marT="0" marB="0" anchor="ctr"/>
                </a:tc>
                <a:tc gridSpan="3">
                  <a:txBody>
                    <a:bodyPr/>
                    <a:lstStyle/>
                    <a:p>
                      <a:pPr marL="0" lvl="0" algn="ctr" rtl="0">
                        <a:spcBef>
                          <a:spcPts val="0"/>
                        </a:spcBef>
                        <a:spcAft>
                          <a:spcPts val="0"/>
                        </a:spcAft>
                        <a:buNone/>
                      </a:pPr>
                      <a:r>
                        <a:rPr lang="de-CH" sz="1100" b="0" i="0" u="none" kern="1200" baseline="0" noProof="0" dirty="0">
                          <a:effectLst/>
                        </a:rPr>
                        <a:t>Pause</a:t>
                      </a:r>
                    </a:p>
                  </a:txBody>
                  <a:tcPr marL="72000" marR="0" marT="0" marB="0" anchor="ctr"/>
                </a:tc>
                <a:tc hMerge="1">
                  <a:txBody>
                    <a:bodyPr/>
                    <a:lstStyle/>
                    <a:p>
                      <a:pPr marL="0" lvl="0" algn="l" rtl="0">
                        <a:spcBef>
                          <a:spcPts val="0"/>
                        </a:spcBef>
                        <a:spcAft>
                          <a:spcPts val="0"/>
                        </a:spcAft>
                        <a:buNone/>
                      </a:pPr>
                      <a:endParaRPr lang="en-gb" sz="1100" kern="1200" noProof="0">
                        <a:effectLst/>
                      </a:endParaRPr>
                    </a:p>
                  </a:txBody>
                  <a:tcPr marL="72000" marR="0" marT="0" marB="0" anchor="ctr"/>
                </a:tc>
                <a:tc hMerge="1">
                  <a:txBody>
                    <a:bodyPr/>
                    <a:lstStyle/>
                    <a:p>
                      <a:pPr marL="0" lvl="0" algn="l" rtl="0">
                        <a:spcBef>
                          <a:spcPts val="0"/>
                        </a:spcBef>
                        <a:spcAft>
                          <a:spcPts val="0"/>
                        </a:spcAft>
                        <a:buNone/>
                      </a:pPr>
                      <a:endParaRPr lang="en-gb" sz="1100" noProof="0">
                        <a:effectLst/>
                      </a:endParaRPr>
                    </a:p>
                  </a:txBody>
                  <a:tcPr marL="72000" marR="0" marT="0" marB="0" anchor="ctr"/>
                </a:tc>
                <a:tc>
                  <a:txBody>
                    <a:bodyPr/>
                    <a:lstStyle/>
                    <a:p>
                      <a:pPr marL="0" lvl="0" algn="l" rtl="0">
                        <a:spcBef>
                          <a:spcPts val="0"/>
                        </a:spcBef>
                        <a:spcAft>
                          <a:spcPts val="0"/>
                        </a:spcAft>
                        <a:buNone/>
                      </a:pPr>
                      <a:r>
                        <a:rPr lang="de-CH" sz="1100" b="0" i="0" u="none" baseline="0" noProof="0" dirty="0">
                          <a:effectLst/>
                        </a:rPr>
                        <a:t>Getränke/Snacks</a:t>
                      </a:r>
                    </a:p>
                  </a:txBody>
                  <a:tcPr marL="72000" marR="0" marT="0" marB="0" anchor="ctr"/>
                </a:tc>
                <a:extLst>
                  <a:ext uri="{0D108BD9-81ED-4DB2-BD59-A6C34878D82A}">
                    <a16:rowId xmlns:a16="http://schemas.microsoft.com/office/drawing/2014/main" val="3941753554"/>
                  </a:ext>
                </a:extLst>
              </a:tr>
            </a:tbl>
          </a:graphicData>
        </a:graphic>
      </p:graphicFrame>
      <p:sp>
        <p:nvSpPr>
          <p:cNvPr id="2" name="Titel 1"/>
          <p:cNvSpPr>
            <a:spLocks noGrp="1"/>
          </p:cNvSpPr>
          <p:nvPr>
            <p:ph type="title"/>
          </p:nvPr>
        </p:nvSpPr>
        <p:spPr/>
        <p:txBody>
          <a:bodyPr vert="horz"/>
          <a:lstStyle/>
          <a:p>
            <a:pPr algn="l"/>
            <a:r>
              <a:rPr lang="de-CH" dirty="0">
                <a:cs typeface="Arial"/>
              </a:rPr>
              <a:t>Beispielhafter Ablauf </a:t>
            </a:r>
            <a:r>
              <a:rPr lang="de-CH" b="0" i="0" u="none" baseline="0" dirty="0">
                <a:latin typeface="Arial"/>
                <a:ea typeface="Arial"/>
                <a:cs typeface="Arial"/>
              </a:rPr>
              <a:t>(1/2)</a:t>
            </a:r>
            <a:br>
              <a:rPr lang="de-CH" dirty="0">
                <a:cs typeface="Arial"/>
              </a:rPr>
            </a:br>
            <a:r>
              <a:rPr lang="de-CH" sz="2000" dirty="0">
                <a:cs typeface="Arial"/>
              </a:rPr>
              <a:t>Bitte planen Sie ca. 2.5 Stunden ein </a:t>
            </a:r>
            <a:endParaRPr lang="de-CH" dirty="0">
              <a:cs typeface="Arial"/>
            </a:endParaRPr>
          </a:p>
        </p:txBody>
      </p:sp>
      <p:sp>
        <p:nvSpPr>
          <p:cNvPr id="4" name="Datumsplatzhalter 3"/>
          <p:cNvSpPr>
            <a:spLocks noGrp="1"/>
          </p:cNvSpPr>
          <p:nvPr>
            <p:ph type="dt" sz="half" idx="10"/>
          </p:nvPr>
        </p:nvSpPr>
        <p:spPr/>
        <p:txBody>
          <a:bodyPr/>
          <a:lstStyle/>
          <a:p>
            <a:pPr algn="l"/>
            <a:fld id="{DC7D8B67-86B1-4828-B5CC-4DE80300549D}"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7</a:t>
            </a:fld>
            <a:endParaRPr lang="de-CH" noProof="0" dirty="0"/>
          </a:p>
        </p:txBody>
      </p:sp>
      <p:sp>
        <p:nvSpPr>
          <p:cNvPr id="11" name="Rechteck 10">
            <a:extLst>
              <a:ext uri="{FF2B5EF4-FFF2-40B4-BE49-F238E27FC236}">
                <a16:creationId xmlns:a16="http://schemas.microsoft.com/office/drawing/2014/main" id="{D546C90B-D125-48EE-A1FF-3334FE6CA27A}"/>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35125498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72A6001-9BB9-A627-E613-6E007AFFCCA1}"/>
              </a:ext>
            </a:extLst>
          </p:cNvPr>
          <p:cNvGraphicFramePr>
            <a:graphicFrameLocks noChangeAspect="1"/>
          </p:cNvGraphicFramePr>
          <p:nvPr>
            <p:custDataLst>
              <p:tags r:id="rId1"/>
            </p:custDataLst>
            <p:extLst>
              <p:ext uri="{D42A27DB-BD31-4B8C-83A1-F6EECF244321}">
                <p14:modId xmlns:p14="http://schemas.microsoft.com/office/powerpoint/2010/main" val="244641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672A6001-9BB9-A627-E613-6E007AFFCC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10" name="Table 9">
            <a:extLst>
              <a:ext uri="{FF2B5EF4-FFF2-40B4-BE49-F238E27FC236}">
                <a16:creationId xmlns:a16="http://schemas.microsoft.com/office/drawing/2014/main" id="{9B7E8B9D-5F9A-4F11-B14F-FECAB6CF2579}"/>
              </a:ext>
            </a:extLst>
          </p:cNvPr>
          <p:cNvGraphicFramePr>
            <a:graphicFrameLocks noGrp="1"/>
          </p:cNvGraphicFramePr>
          <p:nvPr>
            <p:extLst>
              <p:ext uri="{D42A27DB-BD31-4B8C-83A1-F6EECF244321}">
                <p14:modId xmlns:p14="http://schemas.microsoft.com/office/powerpoint/2010/main" val="3091179465"/>
              </p:ext>
            </p:extLst>
          </p:nvPr>
        </p:nvGraphicFramePr>
        <p:xfrm>
          <a:off x="731837" y="1140729"/>
          <a:ext cx="10728328" cy="4952625"/>
        </p:xfrm>
        <a:graphic>
          <a:graphicData uri="http://schemas.openxmlformats.org/drawingml/2006/table">
            <a:tbl>
              <a:tblPr firstRow="1" bandRow="1">
                <a:tableStyleId>{5C22544A-7EE6-4342-B048-85BDC9FD1C3A}</a:tableStyleId>
              </a:tblPr>
              <a:tblGrid>
                <a:gridCol w="679520">
                  <a:extLst>
                    <a:ext uri="{9D8B030D-6E8A-4147-A177-3AD203B41FA5}">
                      <a16:colId xmlns:a16="http://schemas.microsoft.com/office/drawing/2014/main" val="1714132888"/>
                    </a:ext>
                  </a:extLst>
                </a:gridCol>
                <a:gridCol w="1340402">
                  <a:extLst>
                    <a:ext uri="{9D8B030D-6E8A-4147-A177-3AD203B41FA5}">
                      <a16:colId xmlns:a16="http://schemas.microsoft.com/office/drawing/2014/main" val="3593074681"/>
                    </a:ext>
                  </a:extLst>
                </a:gridCol>
                <a:gridCol w="5074418">
                  <a:extLst>
                    <a:ext uri="{9D8B030D-6E8A-4147-A177-3AD203B41FA5}">
                      <a16:colId xmlns:a16="http://schemas.microsoft.com/office/drawing/2014/main" val="1802429230"/>
                    </a:ext>
                  </a:extLst>
                </a:gridCol>
                <a:gridCol w="1816994">
                  <a:extLst>
                    <a:ext uri="{9D8B030D-6E8A-4147-A177-3AD203B41FA5}">
                      <a16:colId xmlns:a16="http://schemas.microsoft.com/office/drawing/2014/main" val="3871929852"/>
                    </a:ext>
                  </a:extLst>
                </a:gridCol>
                <a:gridCol w="1816994">
                  <a:extLst>
                    <a:ext uri="{9D8B030D-6E8A-4147-A177-3AD203B41FA5}">
                      <a16:colId xmlns:a16="http://schemas.microsoft.com/office/drawing/2014/main" val="2061069242"/>
                    </a:ext>
                  </a:extLst>
                </a:gridCol>
              </a:tblGrid>
              <a:tr h="426345">
                <a:tc>
                  <a:txBody>
                    <a:bodyPr/>
                    <a:lstStyle/>
                    <a:p>
                      <a:pPr marL="0" algn="l" rtl="0" eaLnBrk="1" latinLnBrk="0" hangingPunct="1">
                        <a:spcBef>
                          <a:spcPts val="0"/>
                        </a:spcBef>
                        <a:spcAft>
                          <a:spcPts val="0"/>
                        </a:spcAft>
                      </a:pPr>
                      <a:r>
                        <a:rPr lang="de-CH" sz="1100" b="1" i="0" u="none" kern="1200" baseline="0" dirty="0">
                          <a:effectLst/>
                        </a:rPr>
                        <a:t>Zeit</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1" i="0" u="none" baseline="0" dirty="0">
                          <a:effectLst/>
                        </a:rPr>
                        <a:t>Agenda Punkt</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1" i="0" u="none" kern="1200" baseline="0" dirty="0">
                          <a:effectLst/>
                        </a:rPr>
                        <a:t>Was</a:t>
                      </a:r>
                      <a:endParaRPr lang="de-CH" sz="1100" noProof="0" dirty="0">
                        <a:effectLst/>
                      </a:endParaRPr>
                    </a:p>
                  </a:txBody>
                  <a:tcPr marL="72000" marR="0" marT="0" marB="0" anchor="ctr"/>
                </a:tc>
                <a:tc>
                  <a:txBody>
                    <a:bodyPr/>
                    <a:lstStyle/>
                    <a:p>
                      <a:pPr marL="0" algn="l" rtl="0" eaLnBrk="1" latinLnBrk="0" hangingPunct="1">
                        <a:spcBef>
                          <a:spcPts val="0"/>
                        </a:spcBef>
                        <a:spcAft>
                          <a:spcPts val="0"/>
                        </a:spcAft>
                      </a:pPr>
                      <a:r>
                        <a:rPr lang="de-CH" sz="1100" b="1" i="0" u="none" baseline="0" dirty="0">
                          <a:effectLst/>
                        </a:rPr>
                        <a:t>Wozu?</a:t>
                      </a:r>
                    </a:p>
                  </a:txBody>
                  <a:tcPr marL="72000" marR="0" marT="0" marB="0" anchor="ctr"/>
                </a:tc>
                <a:tc>
                  <a:txBody>
                    <a:bodyPr/>
                    <a:lstStyle/>
                    <a:p>
                      <a:pPr marL="0" algn="l" rtl="0" eaLnBrk="1" latinLnBrk="0" hangingPunct="1">
                        <a:spcBef>
                          <a:spcPts val="0"/>
                        </a:spcBef>
                        <a:spcAft>
                          <a:spcPts val="0"/>
                        </a:spcAft>
                      </a:pPr>
                      <a:r>
                        <a:rPr lang="de-CH" sz="1100" b="1" i="0" u="none" kern="1200" baseline="0" dirty="0">
                          <a:effectLst/>
                        </a:rPr>
                        <a:t>Material</a:t>
                      </a:r>
                      <a:endParaRPr lang="de-CH" sz="1100" noProof="0" dirty="0">
                        <a:effectLst/>
                      </a:endParaRPr>
                    </a:p>
                  </a:txBody>
                  <a:tcPr marL="72000" marR="0" marT="0" marB="0" anchor="ctr"/>
                </a:tc>
                <a:extLst>
                  <a:ext uri="{0D108BD9-81ED-4DB2-BD59-A6C34878D82A}">
                    <a16:rowId xmlns:a16="http://schemas.microsoft.com/office/drawing/2014/main" val="4223331645"/>
                  </a:ext>
                </a:extLst>
              </a:tr>
              <a:tr h="499984">
                <a:tc>
                  <a:txBody>
                    <a:bodyPr/>
                    <a:lstStyle/>
                    <a:p>
                      <a:pPr marL="0" algn="l" rtl="0" eaLnBrk="1" latinLnBrk="0" hangingPunct="1">
                        <a:spcBef>
                          <a:spcPts val="0"/>
                        </a:spcBef>
                        <a:spcAft>
                          <a:spcPts val="0"/>
                        </a:spcAft>
                      </a:pPr>
                      <a:r>
                        <a:rPr lang="de-CH" sz="1100" b="0" i="0" u="none" kern="1200" baseline="0" dirty="0">
                          <a:effectLst/>
                        </a:rPr>
                        <a:t>30 Min.</a:t>
                      </a:r>
                      <a:endParaRPr lang="de-CH" sz="1100" noProof="0" dirty="0">
                        <a:effectLst/>
                      </a:endParaRPr>
                    </a:p>
                  </a:txBody>
                  <a:tcPr marL="72000" marR="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CH" sz="1100" b="0" i="0" u="none" kern="1200" baseline="0" dirty="0">
                          <a:effectLst/>
                        </a:rPr>
                        <a:t>Zielerreichung (Übung)</a:t>
                      </a:r>
                    </a:p>
                  </a:txBody>
                  <a:tcPr marL="72000" marR="0" marT="0" marB="0" anchor="ctr"/>
                </a:tc>
                <a:tc>
                  <a:txBody>
                    <a:bodyPr/>
                    <a:lstStyle/>
                    <a:p>
                      <a:pPr marL="0" lvl="0" indent="0" algn="l" rtl="0">
                        <a:spcBef>
                          <a:spcPts val="0"/>
                        </a:spcBef>
                        <a:spcAft>
                          <a:spcPts val="0"/>
                        </a:spcAft>
                        <a:buNone/>
                      </a:pPr>
                      <a:r>
                        <a:rPr lang="de-CH" sz="1100" b="0" i="0" u="none" kern="1200" baseline="0" dirty="0">
                          <a:effectLst/>
                        </a:rPr>
                        <a:t>Bei dieser Bewertungsrunde bewerten die Teammitglieder die Aussagen zur Zielerreichung auf einer Skala von 1-5, die den Grad ihrer Zustimmung widerspiegelt. Diese Aussagen betreffen Themen wie die Förderung von Innovationen, die effektive Nutzung von Tools, kontinuierliches Lernen und das Onboarding in einer hybriden Arbeitsumgebung. Im Anschluss an die Bewertungen wird das Team Diskussionen aus drei verschiedenen Perspektiven führen: Rückblick, Gestaltung der Zukunft und Ergreifung konkreter Massnahmen.</a:t>
                      </a:r>
                      <a:endParaRPr lang="de-CH" sz="1100" dirty="0">
                        <a:solidFill>
                          <a:schemeClr val="tx1"/>
                        </a:solidFill>
                        <a:cs typeface="Arial"/>
                      </a:endParaRPr>
                    </a:p>
                  </a:txBody>
                  <a:tcPr marL="72000" marR="0" marT="0" marB="0" anchor="ctr"/>
                </a:tc>
                <a:tc>
                  <a:txBody>
                    <a:bodyPr/>
                    <a:lstStyle/>
                    <a:p>
                      <a:pPr marL="0" algn="l" rtl="0" eaLnBrk="1" latinLnBrk="0" hangingPunct="1">
                        <a:spcBef>
                          <a:spcPts val="0"/>
                        </a:spcBef>
                        <a:spcAft>
                          <a:spcPts val="0"/>
                        </a:spcAft>
                      </a:pPr>
                      <a:r>
                        <a:rPr lang="de-CH" sz="1100" b="0" i="0" u="none" baseline="0" dirty="0">
                          <a:effectLst/>
                        </a:rPr>
                        <a:t>Reflexion, offene Diskussion, Transparenz, Generierung neuer Ideen und Konsensfindung</a:t>
                      </a:r>
                    </a:p>
                  </a:txBody>
                  <a:tcPr marL="72000" marR="0" marT="0" marB="0" anchor="ctr"/>
                </a:tc>
                <a:tc>
                  <a:txBody>
                    <a:bodyPr/>
                    <a:lstStyle/>
                    <a:p>
                      <a:pPr marL="0" indent="0" algn="l" rtl="0" eaLnBrk="1" latinLnBrk="0" hangingPunct="1">
                        <a:spcBef>
                          <a:spcPts val="0"/>
                        </a:spcBef>
                        <a:spcAft>
                          <a:spcPts val="0"/>
                        </a:spcAft>
                      </a:pPr>
                      <a:endParaRPr lang="de-CH" sz="1100" b="0" i="0" u="none" baseline="0" dirty="0">
                        <a:effectLst/>
                      </a:endParaRPr>
                    </a:p>
                    <a:p>
                      <a:pPr marL="0" indent="0" algn="l" rtl="0" eaLnBrk="1" latinLnBrk="0" hangingPunct="1">
                        <a:spcBef>
                          <a:spcPts val="0"/>
                        </a:spcBef>
                        <a:spcAft>
                          <a:spcPts val="0"/>
                        </a:spcAft>
                      </a:pPr>
                      <a:r>
                        <a:rPr lang="de-CH" sz="1100" b="0" i="0" u="none" baseline="0" dirty="0">
                          <a:effectLst/>
                        </a:rPr>
                        <a:t>Folien: Zielerreichung - Bewertung; offene Diskussion und die Bewertungsfolie</a:t>
                      </a:r>
                    </a:p>
                    <a:p>
                      <a:pPr marL="0" indent="0" algn="l" rtl="0" eaLnBrk="1" latinLnBrk="0" hangingPunct="1">
                        <a:spcBef>
                          <a:spcPts val="0"/>
                        </a:spcBef>
                        <a:spcAft>
                          <a:spcPts val="0"/>
                        </a:spcAft>
                      </a:pPr>
                      <a:r>
                        <a:rPr lang="de-CH" sz="1100" b="0" i="0" u="none" baseline="0" dirty="0">
                          <a:effectLst/>
                        </a:rPr>
                        <a:t>Materialien: </a:t>
                      </a:r>
                      <a:r>
                        <a:rPr lang="de-CH" sz="1100" b="0" i="0" u="none" baseline="0" dirty="0" err="1">
                          <a:effectLst/>
                        </a:rPr>
                        <a:t>Mentimeter</a:t>
                      </a:r>
                      <a:r>
                        <a:rPr lang="de-CH" sz="1100" b="0" i="0" u="none" baseline="0" dirty="0">
                          <a:effectLst/>
                        </a:rPr>
                        <a:t> (optional), Mobiltelefone für </a:t>
                      </a:r>
                      <a:r>
                        <a:rPr lang="de-CH" sz="1100" b="0" i="0" u="none" baseline="0" dirty="0" err="1">
                          <a:effectLst/>
                        </a:rPr>
                        <a:t>Mentimeter</a:t>
                      </a:r>
                      <a:r>
                        <a:rPr lang="de-CH" sz="1100" b="0" i="0" u="none" baseline="0" dirty="0">
                          <a:effectLst/>
                        </a:rPr>
                        <a:t>, A3-Ausdruck des Bewertungsbogens, Aufkleber, Flipcharts und Stifte</a:t>
                      </a:r>
                    </a:p>
                    <a:p>
                      <a:pPr marL="0" indent="0" algn="l" rtl="0" eaLnBrk="1" latinLnBrk="0" hangingPunct="1">
                        <a:spcBef>
                          <a:spcPts val="0"/>
                        </a:spcBef>
                        <a:spcAft>
                          <a:spcPts val="0"/>
                        </a:spcAft>
                      </a:pPr>
                      <a:endParaRPr lang="de-CH" sz="1100" b="0" i="0" u="none" baseline="0" dirty="0">
                        <a:effectLst/>
                      </a:endParaRPr>
                    </a:p>
                  </a:txBody>
                  <a:tcPr marL="72000" marR="0" marT="0" marB="0" anchor="ctr"/>
                </a:tc>
                <a:extLst>
                  <a:ext uri="{0D108BD9-81ED-4DB2-BD59-A6C34878D82A}">
                    <a16:rowId xmlns:a16="http://schemas.microsoft.com/office/drawing/2014/main" val="2837530008"/>
                  </a:ext>
                </a:extLst>
              </a:tr>
              <a:tr h="954505">
                <a:tc>
                  <a:txBody>
                    <a:bodyPr/>
                    <a:lstStyle/>
                    <a:p>
                      <a:pPr marL="0" algn="l" rtl="0" eaLnBrk="1" latinLnBrk="0" hangingPunct="1">
                        <a:spcBef>
                          <a:spcPts val="0"/>
                        </a:spcBef>
                        <a:spcAft>
                          <a:spcPts val="0"/>
                        </a:spcAft>
                      </a:pPr>
                      <a:r>
                        <a:rPr lang="de-CH" sz="1100" b="0" i="0" u="none" kern="1200" baseline="0" dirty="0">
                          <a:effectLst/>
                        </a:rPr>
                        <a:t>30 Min.</a:t>
                      </a:r>
                      <a:endParaRPr lang="de-CH" sz="1100" noProof="0" dirty="0">
                        <a:effectLst/>
                      </a:endParaRPr>
                    </a:p>
                  </a:txBody>
                  <a:tcPr marL="72000" marR="0" marT="0" marB="0" anchor="ctr"/>
                </a:tc>
                <a:tc>
                  <a:txBody>
                    <a:bodyPr/>
                    <a:lstStyle/>
                    <a:p>
                      <a:pPr marL="0" lvl="0" algn="l" rtl="0">
                        <a:spcBef>
                          <a:spcPts val="0"/>
                        </a:spcBef>
                        <a:spcAft>
                          <a:spcPts val="0"/>
                        </a:spcAft>
                        <a:buNone/>
                      </a:pPr>
                      <a:r>
                        <a:rPr lang="de-CH" sz="1100" b="0" i="0" u="none" kern="1200" baseline="0" dirty="0">
                          <a:effectLst/>
                        </a:rPr>
                        <a:t>Zusammenhalt und Wohlbefinden im Team (Übung)</a:t>
                      </a:r>
                    </a:p>
                  </a:txBody>
                  <a:tcPr marL="72000" marR="0" marT="0" marB="0" anchor="ctr"/>
                </a:tc>
                <a:tc>
                  <a:txBody>
                    <a:bodyPr/>
                    <a:lstStyle/>
                    <a:p>
                      <a:pPr marL="0" lvl="0" algn="l" rtl="0">
                        <a:spcBef>
                          <a:spcPts val="0"/>
                        </a:spcBef>
                        <a:spcAft>
                          <a:spcPts val="0"/>
                        </a:spcAft>
                        <a:buNone/>
                      </a:pPr>
                      <a:endParaRPr lang="de-CH" sz="1100" b="0" i="0" u="none" kern="1200" baseline="0" dirty="0">
                        <a:effectLst/>
                      </a:endParaRPr>
                    </a:p>
                    <a:p>
                      <a:pPr marL="0" lvl="0" algn="l" rtl="0">
                        <a:spcBef>
                          <a:spcPts val="0"/>
                        </a:spcBef>
                        <a:spcAft>
                          <a:spcPts val="0"/>
                        </a:spcAft>
                        <a:buNone/>
                      </a:pPr>
                      <a:r>
                        <a:rPr lang="de-CH" sz="1100" b="0" i="0" u="none" kern="1200" baseline="0" dirty="0">
                          <a:effectLst/>
                        </a:rPr>
                        <a:t>Bei dieser Teamübung geht es um die Verbesserung des Zusammenhalts und des Wohlbefindens im Team. Die Teammitglieder diskutieren in Zweiergruppen über soziale Beziehungen, die Stärkung der Interaktion und die Förderung der Work-Life-Balance in einem hybriden Arbeitsumfeld. Im Anschluss an diese Diskussionen teilt jede Zweiergruppe ihre Erkenntnisse und zwei mögliche Aktionsschritte mit der gesamten Gruppe.</a:t>
                      </a:r>
                    </a:p>
                    <a:p>
                      <a:pPr marL="0" lvl="0" algn="l" rtl="0">
                        <a:spcBef>
                          <a:spcPts val="0"/>
                        </a:spcBef>
                        <a:spcAft>
                          <a:spcPts val="0"/>
                        </a:spcAft>
                        <a:buNone/>
                      </a:pPr>
                      <a:endParaRPr lang="de-CH" sz="1100" b="0" i="0" u="none" kern="1200" baseline="0" dirty="0">
                        <a:effectLst/>
                      </a:endParaRPr>
                    </a:p>
                  </a:txBody>
                  <a:tcPr marL="72000" marR="0" marT="0" marB="0" anchor="ctr"/>
                </a:tc>
                <a:tc>
                  <a:txBody>
                    <a:bodyPr/>
                    <a:lstStyle/>
                    <a:p>
                      <a:pPr marL="0" algn="l" rtl="0" eaLnBrk="1" latinLnBrk="0" hangingPunct="1">
                        <a:spcBef>
                          <a:spcPts val="0"/>
                        </a:spcBef>
                        <a:spcAft>
                          <a:spcPts val="0"/>
                        </a:spcAft>
                      </a:pPr>
                      <a:r>
                        <a:rPr lang="de-CH" sz="1100" b="0" i="0" u="none" baseline="0" dirty="0">
                          <a:effectLst/>
                        </a:rPr>
                        <a:t>Reflexion, offene Diskussion, Transparenz, Generierung neuer Ideen und Konsensfindung</a:t>
                      </a:r>
                    </a:p>
                  </a:txBody>
                  <a:tcPr marL="72000" marR="0" marT="0" marB="0" anchor="ctr"/>
                </a:tc>
                <a:tc>
                  <a:txBody>
                    <a:bodyPr/>
                    <a:lstStyle/>
                    <a:p>
                      <a:pPr marL="0" algn="l" rtl="0" eaLnBrk="1" latinLnBrk="0" hangingPunct="1">
                        <a:spcBef>
                          <a:spcPts val="0"/>
                        </a:spcBef>
                        <a:spcAft>
                          <a:spcPts val="0"/>
                        </a:spcAft>
                      </a:pPr>
                      <a:r>
                        <a:rPr lang="de-CH" sz="1100" b="0" i="0" u="none" baseline="0" dirty="0">
                          <a:effectLst/>
                        </a:rPr>
                        <a:t>Folie: Zusammenhalt und Wohlbefinden im Team</a:t>
                      </a:r>
                    </a:p>
                    <a:p>
                      <a:pPr marL="0" algn="l" rtl="0" eaLnBrk="1" latinLnBrk="0" hangingPunct="1">
                        <a:spcBef>
                          <a:spcPts val="0"/>
                        </a:spcBef>
                        <a:spcAft>
                          <a:spcPts val="0"/>
                        </a:spcAft>
                      </a:pPr>
                      <a:r>
                        <a:rPr lang="de-CH" sz="1100" b="0" i="0" u="none" baseline="0" dirty="0">
                          <a:effectLst/>
                        </a:rPr>
                        <a:t>Materialien: Post-</a:t>
                      </a:r>
                      <a:r>
                        <a:rPr lang="de-CH" sz="1100" b="0" i="0" u="none" baseline="0" dirty="0" err="1">
                          <a:effectLst/>
                        </a:rPr>
                        <a:t>Its</a:t>
                      </a:r>
                      <a:r>
                        <a:rPr lang="de-CH" sz="1100" b="0" i="0" u="none" baseline="0" dirty="0">
                          <a:effectLst/>
                        </a:rPr>
                        <a:t> und Marker</a:t>
                      </a:r>
                    </a:p>
                  </a:txBody>
                  <a:tcPr marL="72000" marR="0" marT="0" marB="0" anchor="ctr"/>
                </a:tc>
                <a:extLst>
                  <a:ext uri="{0D108BD9-81ED-4DB2-BD59-A6C34878D82A}">
                    <a16:rowId xmlns:a16="http://schemas.microsoft.com/office/drawing/2014/main" val="503110164"/>
                  </a:ext>
                </a:extLst>
              </a:tr>
              <a:tr h="373222">
                <a:tc>
                  <a:txBody>
                    <a:bodyPr/>
                    <a:lstStyle/>
                    <a:p>
                      <a:pPr marL="0" lvl="0" algn="l" rtl="0">
                        <a:spcBef>
                          <a:spcPts val="0"/>
                        </a:spcBef>
                        <a:spcAft>
                          <a:spcPts val="0"/>
                        </a:spcAft>
                        <a:buNone/>
                      </a:pPr>
                      <a:r>
                        <a:rPr lang="de-CH" sz="1100" b="0" i="0" u="none" kern="1200" baseline="0" dirty="0">
                          <a:effectLst/>
                        </a:rPr>
                        <a:t>20 Min.</a:t>
                      </a:r>
                      <a:endParaRPr lang="de-CH" sz="1100" noProof="0" dirty="0"/>
                    </a:p>
                  </a:txBody>
                  <a:tcPr marL="72000" marR="0" marT="0" marB="0" anchor="ctr"/>
                </a:tc>
                <a:tc>
                  <a:txBody>
                    <a:bodyPr/>
                    <a:lstStyle/>
                    <a:p>
                      <a:pPr marL="0" algn="l" rtl="0" eaLnBrk="1" latinLnBrk="0" hangingPunct="1">
                        <a:spcBef>
                          <a:spcPts val="0"/>
                        </a:spcBef>
                        <a:spcAft>
                          <a:spcPts val="0"/>
                        </a:spcAft>
                      </a:pPr>
                      <a:r>
                        <a:rPr lang="de-CH" sz="1100" b="0" i="0" u="none" kern="1200" baseline="0" dirty="0">
                          <a:effectLst/>
                        </a:rPr>
                        <a:t>Check-out &amp; nächste Schritte (Übung)</a:t>
                      </a:r>
                    </a:p>
                  </a:txBody>
                  <a:tcPr marL="72000" marR="0" marT="0" marB="0" anchor="ctr"/>
                </a:tc>
                <a:tc>
                  <a:txBody>
                    <a:bodyPr/>
                    <a:lstStyle/>
                    <a:p>
                      <a:pPr marL="0" lvl="0" algn="l" rtl="0">
                        <a:spcBef>
                          <a:spcPts val="0"/>
                        </a:spcBef>
                        <a:spcAft>
                          <a:spcPts val="0"/>
                        </a:spcAft>
                        <a:buNone/>
                      </a:pPr>
                      <a:endParaRPr lang="de-CH" sz="1100" b="0" i="0" u="none" kern="1200" baseline="0" dirty="0">
                        <a:effectLst/>
                      </a:endParaRPr>
                    </a:p>
                    <a:p>
                      <a:pPr marL="0" lvl="0" algn="l" rtl="0">
                        <a:spcBef>
                          <a:spcPts val="0"/>
                        </a:spcBef>
                        <a:spcAft>
                          <a:spcPts val="0"/>
                        </a:spcAft>
                        <a:buNone/>
                      </a:pPr>
                      <a:r>
                        <a:rPr lang="de-CH" sz="1100" b="0" i="0" u="none" kern="1200" baseline="0" dirty="0">
                          <a:effectLst/>
                        </a:rPr>
                        <a:t>Die letzte Übung zielt darauf ab, das Engagement des Teams für bestimmte Handlungen zu konsolidieren, die in den vorangegangenen Diskussionen herausgearbeitet wurden. Die Teammitglieder setzen Prioritäten, indem sie Aufkleber auf die Aktionen kleben, die sie für besonders wichtig halten, und entscheiden dann gemeinsam über die beliebtesten. </a:t>
                      </a:r>
                    </a:p>
                    <a:p>
                      <a:pPr marL="0" lvl="0" algn="l" rtl="0">
                        <a:spcBef>
                          <a:spcPts val="0"/>
                        </a:spcBef>
                        <a:spcAft>
                          <a:spcPts val="0"/>
                        </a:spcAft>
                        <a:buNone/>
                      </a:pPr>
                      <a:endParaRPr lang="de-CH" sz="1100" b="0" i="0" u="none" kern="1200" baseline="0" dirty="0">
                        <a:effectLst/>
                      </a:endParaRPr>
                    </a:p>
                  </a:txBody>
                  <a:tcPr marL="72000" marR="0" marT="0" marB="0" anchor="ctr"/>
                </a:tc>
                <a:tc>
                  <a:txBody>
                    <a:bodyPr/>
                    <a:lstStyle/>
                    <a:p>
                      <a:pPr marL="0" lvl="0" algn="l" rtl="0">
                        <a:spcBef>
                          <a:spcPts val="0"/>
                        </a:spcBef>
                        <a:spcAft>
                          <a:spcPts val="0"/>
                        </a:spcAft>
                        <a:buNone/>
                      </a:pPr>
                      <a:r>
                        <a:rPr lang="de-CH" sz="1100" b="0" i="0" u="none" baseline="0" dirty="0">
                          <a:effectLst/>
                        </a:rPr>
                        <a:t>Rückblick und Verpflichtung zum Handeln</a:t>
                      </a:r>
                    </a:p>
                  </a:txBody>
                  <a:tcPr marL="72000" marR="0" marT="0" marB="0" anchor="ctr"/>
                </a:tc>
                <a:tc>
                  <a:txBody>
                    <a:bodyPr/>
                    <a:lstStyle/>
                    <a:p>
                      <a:pPr marL="0" algn="l" rtl="0" eaLnBrk="1" latinLnBrk="0" hangingPunct="1">
                        <a:spcBef>
                          <a:spcPts val="0"/>
                        </a:spcBef>
                        <a:spcAft>
                          <a:spcPts val="0"/>
                        </a:spcAft>
                      </a:pPr>
                      <a:r>
                        <a:rPr lang="de-CH" sz="1100" b="0" i="0" u="none" baseline="0" dirty="0">
                          <a:effectLst/>
                        </a:rPr>
                        <a:t>Folie: Check-out &amp; nächste Schritte.</a:t>
                      </a:r>
                    </a:p>
                  </a:txBody>
                  <a:tcPr marL="72000" marR="0" marT="0" marB="0" anchor="ctr"/>
                </a:tc>
                <a:extLst>
                  <a:ext uri="{0D108BD9-81ED-4DB2-BD59-A6C34878D82A}">
                    <a16:rowId xmlns:a16="http://schemas.microsoft.com/office/drawing/2014/main" val="4265229918"/>
                  </a:ext>
                </a:extLst>
              </a:tr>
            </a:tbl>
          </a:graphicData>
        </a:graphic>
      </p:graphicFrame>
      <p:sp>
        <p:nvSpPr>
          <p:cNvPr id="2" name="Titel 1"/>
          <p:cNvSpPr>
            <a:spLocks noGrp="1"/>
          </p:cNvSpPr>
          <p:nvPr>
            <p:ph type="title"/>
          </p:nvPr>
        </p:nvSpPr>
        <p:spPr/>
        <p:txBody>
          <a:bodyPr vert="horz"/>
          <a:lstStyle/>
          <a:p>
            <a:pPr algn="l"/>
            <a:r>
              <a:rPr lang="de-CH" dirty="0">
                <a:cs typeface="Arial"/>
              </a:rPr>
              <a:t>Beispielhafter Ablauf </a:t>
            </a:r>
            <a:r>
              <a:rPr lang="de-CH" b="0" i="0" u="none" baseline="0" dirty="0">
                <a:latin typeface="Arial"/>
                <a:ea typeface="Arial"/>
                <a:cs typeface="Arial"/>
              </a:rPr>
              <a:t>(2/2)</a:t>
            </a:r>
            <a:br>
              <a:rPr lang="de-CH" dirty="0">
                <a:cs typeface="Arial"/>
              </a:rPr>
            </a:br>
            <a:r>
              <a:rPr lang="de-CH" sz="2000" dirty="0">
                <a:cs typeface="Arial"/>
              </a:rPr>
              <a:t>Bitte planen Sie ca. 2.5 Stunden ein </a:t>
            </a:r>
            <a:endParaRPr lang="de-CH" dirty="0">
              <a:cs typeface="Arial"/>
            </a:endParaRPr>
          </a:p>
        </p:txBody>
      </p:sp>
      <p:sp>
        <p:nvSpPr>
          <p:cNvPr id="4" name="Datumsplatzhalter 3"/>
          <p:cNvSpPr>
            <a:spLocks noGrp="1"/>
          </p:cNvSpPr>
          <p:nvPr>
            <p:ph type="dt" sz="half" idx="10"/>
          </p:nvPr>
        </p:nvSpPr>
        <p:spPr/>
        <p:txBody>
          <a:bodyPr/>
          <a:lstStyle/>
          <a:p>
            <a:pPr algn="l"/>
            <a:fld id="{7E89EEB8-5D83-458A-97B0-CFF99BF181A3}" type="datetime1">
              <a:rPr lang="de-CH" smtClean="0"/>
              <a:t>29.02.2024</a:t>
            </a:fld>
            <a:endParaRPr lang="de-CH" noProof="0" dirty="0"/>
          </a:p>
        </p:txBody>
      </p:sp>
      <p:sp>
        <p:nvSpPr>
          <p:cNvPr id="8" name="Fußzeilenplatzhalter 4">
            <a:extLst>
              <a:ext uri="{FF2B5EF4-FFF2-40B4-BE49-F238E27FC236}">
                <a16:creationId xmlns:a16="http://schemas.microsoft.com/office/drawing/2014/main" id="{D75AFB06-C0D5-C44A-AFA0-9276A7192873}"/>
              </a:ext>
            </a:extLst>
          </p:cNvPr>
          <p:cNvSpPr>
            <a:spLocks noGrp="1"/>
          </p:cNvSpPr>
          <p:nvPr>
            <p:ph type="ftr" sz="quarter" idx="11"/>
          </p:nvPr>
        </p:nvSpPr>
        <p:spPr/>
        <p:txBody>
          <a:bodyPr/>
          <a:lstStyle/>
          <a:p>
            <a:pPr algn="l"/>
            <a:r>
              <a:rPr lang="de-CH" b="0" i="0" u="none" baseline="0" dirty="0"/>
              <a:t>Einen Teamkonsens entwickeln und die Arbeitswelt der Zukunft </a:t>
            </a:r>
            <a:r>
              <a:rPr lang="de-CH" b="0" i="0" u="none" baseline="0"/>
              <a:t>gemeinsam gestalten</a:t>
            </a:r>
            <a:endParaRPr lang="de-CH" b="0" i="0" u="none" baseline="0" dirty="0"/>
          </a:p>
        </p:txBody>
      </p:sp>
      <p:sp>
        <p:nvSpPr>
          <p:cNvPr id="6" name="Foliennummernplatzhalter 5"/>
          <p:cNvSpPr>
            <a:spLocks noGrp="1"/>
          </p:cNvSpPr>
          <p:nvPr>
            <p:ph type="sldNum" sz="quarter" idx="12"/>
          </p:nvPr>
        </p:nvSpPr>
        <p:spPr/>
        <p:txBody>
          <a:bodyPr/>
          <a:lstStyle/>
          <a:p>
            <a:pPr algn="r"/>
            <a:fld id="{5ACA52AF-F19D-405C-AD5F-7D94B96A5CC3}" type="slidenum">
              <a:rPr lang="de-CH" smtClean="0"/>
              <a:pPr algn="r"/>
              <a:t>8</a:t>
            </a:fld>
            <a:endParaRPr lang="de-CH" noProof="0" dirty="0"/>
          </a:p>
        </p:txBody>
      </p:sp>
      <p:sp>
        <p:nvSpPr>
          <p:cNvPr id="7" name="Rechteck 6">
            <a:extLst>
              <a:ext uri="{FF2B5EF4-FFF2-40B4-BE49-F238E27FC236}">
                <a16:creationId xmlns:a16="http://schemas.microsoft.com/office/drawing/2014/main" id="{8B4571F4-CEEE-40D0-A216-BDA48C6DB1A7}"/>
              </a:ext>
            </a:extLst>
          </p:cNvPr>
          <p:cNvSpPr/>
          <p:nvPr/>
        </p:nvSpPr>
        <p:spPr>
          <a:xfrm rot="2700000">
            <a:off x="9294762" y="535979"/>
            <a:ext cx="4008220" cy="623487"/>
          </a:xfrm>
          <a:prstGeom prst="rect">
            <a:avLst/>
          </a:prstGeom>
          <a:solidFill>
            <a:srgbClr val="727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a:t>Hintergrundinfos </a:t>
            </a:r>
            <a:br>
              <a:rPr lang="de-CH"/>
            </a:br>
            <a:r>
              <a:rPr lang="de-CH"/>
              <a:t>für Vorgesetzte</a:t>
            </a:r>
            <a:endParaRPr lang="de-CH" dirty="0"/>
          </a:p>
        </p:txBody>
      </p:sp>
    </p:spTree>
    <p:extLst>
      <p:ext uri="{BB962C8B-B14F-4D97-AF65-F5344CB8AC3E}">
        <p14:creationId xmlns:p14="http://schemas.microsoft.com/office/powerpoint/2010/main" val="1769867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BD25E6-FA1C-5484-3331-B91F0F7B9647}"/>
              </a:ext>
            </a:extLst>
          </p:cNvPr>
          <p:cNvGraphicFramePr>
            <a:graphicFrameLocks noChangeAspect="1"/>
          </p:cNvGraphicFramePr>
          <p:nvPr>
            <p:custDataLst>
              <p:tags r:id="rId1"/>
            </p:custDataLst>
            <p:extLst>
              <p:ext uri="{D42A27DB-BD31-4B8C-83A1-F6EECF244321}">
                <p14:modId xmlns:p14="http://schemas.microsoft.com/office/powerpoint/2010/main" val="364010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0BD25E6-FA1C-5484-3331-B91F0F7B96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0E1F9D0C-A2DE-4320-86DB-E9507EE39331}"/>
              </a:ext>
            </a:extLst>
          </p:cNvPr>
          <p:cNvPicPr>
            <a:picLocks noChangeAspect="1"/>
          </p:cNvPicPr>
          <p:nvPr/>
        </p:nvPicPr>
        <p:blipFill>
          <a:blip r:embed="rId6"/>
          <a:stretch>
            <a:fillRect/>
          </a:stretch>
        </p:blipFill>
        <p:spPr>
          <a:xfrm>
            <a:off x="731837" y="983725"/>
            <a:ext cx="10728326" cy="5332867"/>
          </a:xfrm>
          <a:prstGeom prst="rect">
            <a:avLst/>
          </a:prstGeom>
        </p:spPr>
      </p:pic>
      <p:sp>
        <p:nvSpPr>
          <p:cNvPr id="8" name="Titel 2">
            <a:extLst>
              <a:ext uri="{FF2B5EF4-FFF2-40B4-BE49-F238E27FC236}">
                <a16:creationId xmlns:a16="http://schemas.microsoft.com/office/drawing/2014/main" id="{AC1FB292-90C1-439C-8480-EB4116CF2374}"/>
              </a:ext>
            </a:extLst>
          </p:cNvPr>
          <p:cNvSpPr txBox="1">
            <a:spLocks/>
          </p:cNvSpPr>
          <p:nvPr/>
        </p:nvSpPr>
        <p:spPr>
          <a:xfrm>
            <a:off x="0" y="2960914"/>
            <a:ext cx="5829300" cy="2917373"/>
          </a:xfrm>
          <a:prstGeom prst="rect">
            <a:avLst/>
          </a:prstGeom>
          <a:solidFill>
            <a:schemeClr val="accent3"/>
          </a:solidFill>
          <a:ln>
            <a:solidFill>
              <a:schemeClr val="accent3"/>
            </a:solidFill>
          </a:ln>
        </p:spPr>
        <p:txBody>
          <a:bodyPr vert="horz" lIns="1080000" tIns="252000" rIns="0" bIns="0" rtlCol="0" anchor="t" anchorCtr="0">
            <a:noAutofit/>
          </a:bodyPr>
          <a:lstStyle>
            <a:lvl1pPr algn="l" defTabSz="914400" rtl="0" eaLnBrk="1" latinLnBrk="0" hangingPunct="1">
              <a:lnSpc>
                <a:spcPct val="100000"/>
              </a:lnSpc>
              <a:spcBef>
                <a:spcPct val="0"/>
              </a:spcBef>
              <a:buNone/>
              <a:defRPr sz="3600" kern="1200">
                <a:solidFill>
                  <a:schemeClr val="bg1"/>
                </a:solidFill>
                <a:latin typeface="+mj-lt"/>
                <a:ea typeface="+mj-ea"/>
                <a:cs typeface="+mj-cs"/>
              </a:defRPr>
            </a:lvl1pPr>
          </a:lstStyle>
          <a:p>
            <a:pPr algn="l">
              <a:spcAft>
                <a:spcPts val="1200"/>
              </a:spcAft>
            </a:pPr>
            <a:r>
              <a:rPr lang="de-CH" sz="2800" b="0" i="0" u="none" baseline="0" dirty="0"/>
              <a:t>Einen Teamkonsens entwickeln und die Arbeitswelt der Zukunft gemeinsam gestalten</a:t>
            </a:r>
          </a:p>
          <a:p>
            <a:pPr>
              <a:spcAft>
                <a:spcPts val="1200"/>
              </a:spcAft>
            </a:pPr>
            <a:r>
              <a:rPr lang="de-CH" sz="1800" dirty="0"/>
              <a:t>TEAM X / FORSCHUNGSGRUPPE Y</a:t>
            </a:r>
          </a:p>
          <a:p>
            <a:pPr algn="l">
              <a:spcAft>
                <a:spcPts val="1200"/>
              </a:spcAft>
            </a:pPr>
            <a:r>
              <a:rPr lang="de-CH" sz="1200" b="0" i="0" u="none" baseline="0"/>
              <a:t>DATUM</a:t>
            </a:r>
            <a:endParaRPr lang="de-CH" sz="1200" dirty="0"/>
          </a:p>
        </p:txBody>
      </p:sp>
      <p:sp>
        <p:nvSpPr>
          <p:cNvPr id="4" name="Text Placeholder 5">
            <a:extLst>
              <a:ext uri="{FF2B5EF4-FFF2-40B4-BE49-F238E27FC236}">
                <a16:creationId xmlns:a16="http://schemas.microsoft.com/office/drawing/2014/main" id="{1C64F35D-60B1-47E8-8AA1-15FBD62E6694}"/>
              </a:ext>
            </a:extLst>
          </p:cNvPr>
          <p:cNvSpPr txBox="1">
            <a:spLocks/>
          </p:cNvSpPr>
          <p:nvPr/>
        </p:nvSpPr>
        <p:spPr>
          <a:xfrm>
            <a:off x="9696449" y="316800"/>
            <a:ext cx="1800000"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Font typeface="Arial" panose="020B0604020202020204" pitchFamily="34" charset="0"/>
              <a:buNone/>
              <a:defRPr sz="1150" kern="1200">
                <a:solidFill>
                  <a:schemeClr val="tx1"/>
                </a:solidFill>
                <a:latin typeface="+mn-lt"/>
                <a:ea typeface="+mn-ea"/>
                <a:cs typeface="+mn-cs"/>
              </a:defRPr>
            </a:lvl1pPr>
            <a:lvl2pPr marL="538163"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2pPr>
            <a:lvl3pPr marL="81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3pPr>
            <a:lvl4pPr marL="1080000" indent="-271463"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4pPr>
            <a:lvl5pPr marL="1350000" indent="-270000" algn="l" defTabSz="914400" rtl="0" eaLnBrk="1" latinLnBrk="0" hangingPunct="1">
              <a:lnSpc>
                <a:spcPct val="100000"/>
              </a:lnSpc>
              <a:spcBef>
                <a:spcPts val="500"/>
              </a:spcBef>
              <a:buFont typeface="Symbol" panose="05050102010706020507" pitchFamily="18" charset="2"/>
              <a:buChar char="-"/>
              <a:defRPr sz="115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de-CH" b="0" i="0" u="none" baseline="0"/>
              <a:t>VPPL</a:t>
            </a:r>
            <a:endParaRPr lang="de-CH" b="0" i="0" u="none" baseline="0" dirty="0"/>
          </a:p>
        </p:txBody>
      </p:sp>
      <p:sp>
        <p:nvSpPr>
          <p:cNvPr id="5" name="Rechteck: abgerundete Ecken 4">
            <a:extLst>
              <a:ext uri="{FF2B5EF4-FFF2-40B4-BE49-F238E27FC236}">
                <a16:creationId xmlns:a16="http://schemas.microsoft.com/office/drawing/2014/main" id="{FFE3D09D-A5EF-4DB0-8BAE-BBD2BA7E76E2}"/>
              </a:ext>
            </a:extLst>
          </p:cNvPr>
          <p:cNvSpPr/>
          <p:nvPr/>
        </p:nvSpPr>
        <p:spPr>
          <a:xfrm>
            <a:off x="5565332" y="668888"/>
            <a:ext cx="6338413" cy="5962539"/>
          </a:xfrm>
          <a:prstGeom prst="roundRect">
            <a:avLst>
              <a:gd name="adj" fmla="val 815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Aft>
                <a:spcPts val="1000"/>
              </a:spcAft>
              <a:buFont typeface="Arial" panose="020B0604020202020204" pitchFamily="34" charset="0"/>
              <a:buChar char="•"/>
            </a:pPr>
            <a:r>
              <a:rPr lang="de-CH" sz="1600" b="0" i="0" u="none" baseline="0" dirty="0"/>
              <a:t>Hier beginnen die Folien, die Sie für Ihren Workshop verwenden können.</a:t>
            </a:r>
          </a:p>
          <a:p>
            <a:pPr marL="285750" indent="-285750">
              <a:spcAft>
                <a:spcPts val="1000"/>
              </a:spcAft>
              <a:buFont typeface="Arial" panose="020B0604020202020204" pitchFamily="34" charset="0"/>
              <a:buChar char="•"/>
            </a:pPr>
            <a:r>
              <a:rPr lang="de-CH" sz="1600" b="0" i="0" u="none" baseline="0" dirty="0"/>
              <a:t>Passen Sie die Folien gern Ihren Bedürfnissen an </a:t>
            </a:r>
            <a:br>
              <a:rPr lang="de-CH" sz="1600" b="0" i="0" u="none" baseline="0" dirty="0"/>
            </a:br>
            <a:r>
              <a:rPr lang="de-CH" sz="1600" b="0" i="0" u="none" baseline="0" dirty="0"/>
              <a:t>(z. B. auf dieser Folie den Titel).</a:t>
            </a:r>
          </a:p>
          <a:p>
            <a:pPr marL="285750" indent="-285750">
              <a:spcAft>
                <a:spcPts val="1000"/>
              </a:spcAft>
              <a:buFont typeface="Arial" panose="020B0604020202020204" pitchFamily="34" charset="0"/>
              <a:buChar char="•"/>
            </a:pPr>
            <a:r>
              <a:rPr lang="de-CH" sz="1600" b="0" i="0" u="none" baseline="0" dirty="0"/>
              <a:t>Zwischendrin finden Sie auch wieder die „Hintergrundinfos für Vorgesetzte“ (Hinweis in grün in der rechten oberen Ecke der Folien). Diese geben Ihnen zusätzliche Orientierung zu dem jeweiligen Workshop-Schritt. Falls Sie den Foliensatz für den Workshop nutzen wollen, ist es sinnvoll, diese Folien vorab auszublenden. </a:t>
            </a:r>
          </a:p>
          <a:p>
            <a:pPr marL="285750" indent="-285750">
              <a:spcAft>
                <a:spcPts val="1000"/>
              </a:spcAft>
              <a:buFont typeface="Arial" panose="020B0604020202020204" pitchFamily="34" charset="0"/>
              <a:buChar char="•"/>
            </a:pPr>
            <a:r>
              <a:rPr lang="de-CH" sz="1600" b="0" i="0" u="none" baseline="0" dirty="0"/>
              <a:t>Alle Folien, die dazu gedacht sind (ggf. mit Ihren Anpassungen), im Workshop gezeigt zu werden, haben einen violetten Hinweis in der rechten oberen Ecke („ Präsentationsfolie“). Diesen bitte vor der Verwendung des Foliensatzes entfernen. </a:t>
            </a:r>
          </a:p>
          <a:p>
            <a:pPr marL="285750" indent="-285750">
              <a:spcAft>
                <a:spcPts val="1000"/>
              </a:spcAft>
              <a:buFont typeface="Arial" panose="020B0604020202020204" pitchFamily="34" charset="0"/>
              <a:buChar char="•"/>
            </a:pPr>
            <a:r>
              <a:rPr lang="de-CH" sz="1600" b="0" i="0" u="none" baseline="0" dirty="0"/>
              <a:t>Diesen Hinweiskasten bitte ebenfalls entfernen.</a:t>
            </a:r>
          </a:p>
        </p:txBody>
      </p:sp>
      <p:sp>
        <p:nvSpPr>
          <p:cNvPr id="6" name="Rechteck 5">
            <a:extLst>
              <a:ext uri="{FF2B5EF4-FFF2-40B4-BE49-F238E27FC236}">
                <a16:creationId xmlns:a16="http://schemas.microsoft.com/office/drawing/2014/main" id="{CFEE8961-1778-43E5-8D01-676802966A39}"/>
              </a:ext>
            </a:extLst>
          </p:cNvPr>
          <p:cNvSpPr/>
          <p:nvPr/>
        </p:nvSpPr>
        <p:spPr>
          <a:xfrm rot="2700000">
            <a:off x="9294762" y="535979"/>
            <a:ext cx="4008220" cy="62348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CH" b="0" i="0" u="none" baseline="0"/>
              <a:t>Präsentationsfolie</a:t>
            </a:r>
            <a:endParaRPr lang="de-CH" b="0" i="0" u="none" baseline="0" dirty="0"/>
          </a:p>
        </p:txBody>
      </p:sp>
    </p:spTree>
    <p:extLst>
      <p:ext uri="{BB962C8B-B14F-4D97-AF65-F5344CB8AC3E}">
        <p14:creationId xmlns:p14="http://schemas.microsoft.com/office/powerpoint/2010/main" val="689743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TH Zürich">
  <a:themeElements>
    <a:clrScheme name="ETH Zürich">
      <a:dk1>
        <a:sysClr val="windowText" lastClr="000000"/>
      </a:dk1>
      <a:lt1>
        <a:sysClr val="window" lastClr="FFFFFF"/>
      </a:lt1>
      <a:dk2>
        <a:srgbClr val="000000"/>
      </a:dk2>
      <a:lt2>
        <a:srgbClr val="FFFFFF"/>
      </a:lt2>
      <a:accent1>
        <a:srgbClr val="1269B0"/>
      </a:accent1>
      <a:accent2>
        <a:srgbClr val="91056A"/>
      </a:accent2>
      <a:accent3>
        <a:srgbClr val="007A96"/>
      </a:accent3>
      <a:accent4>
        <a:srgbClr val="485A2C"/>
      </a:accent4>
      <a:accent5>
        <a:srgbClr val="A8322D"/>
      </a:accent5>
      <a:accent6>
        <a:srgbClr val="72791C"/>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ETH 1">
      <a:srgbClr val="1F407A"/>
    </a:custClr>
    <a:custClr name="ETH 2">
      <a:srgbClr val="485A2C"/>
    </a:custClr>
    <a:custClr name="ETH 3">
      <a:srgbClr val="1269B0"/>
    </a:custClr>
    <a:custClr name="ETH 4">
      <a:srgbClr val="72791C"/>
    </a:custClr>
    <a:custClr name="ETH 5">
      <a:srgbClr val="91056A"/>
    </a:custClr>
    <a:custClr name="ETH 6">
      <a:srgbClr val="6F6F6F"/>
    </a:custClr>
    <a:custClr name="ETH 7">
      <a:srgbClr val="A8322D"/>
    </a:custClr>
    <a:custClr name="ETH 8">
      <a:srgbClr val="007A96"/>
    </a:custClr>
    <a:custClr name="ETH 9">
      <a:srgbClr val="956013"/>
    </a:custClr>
  </a:custClrLst>
  <a:extLst>
    <a:ext uri="{05A4C25C-085E-4340-85A3-A5531E510DB2}">
      <thm15:themeFamily xmlns:thm15="http://schemas.microsoft.com/office/thememl/2012/main" name="Präsentation1" id="{1FB99271-452E-48CD-845E-0D90CFBF7F79}" vid="{F81E789F-9506-4311-B5E1-6F1B690D5174}"/>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a9bc8928-c54f-494a-a2f0-64188098b7d2">
      <UserInfo>
        <DisplayName>Doege  Dagmar (HR)</DisplayName>
        <AccountId>38</AccountId>
        <AccountType/>
      </UserInfo>
      <UserInfo>
        <DisplayName>Kälin  Dahlia (HR)</DisplayName>
        <AccountId>13</AccountId>
        <AccountType/>
      </UserInfo>
      <UserInfo>
        <DisplayName>Buyken  Maximilian (VPPL)</DisplayName>
        <AccountId>14</AccountId>
        <AccountType/>
      </UserInfo>
    </SharedWithUsers>
    <lcf76f155ced4ddcb4097134ff3c332f xmlns="adfa7484-d6f3-4e7e-9538-74ddd14a98e7">
      <Terms xmlns="http://schemas.microsoft.com/office/infopath/2007/PartnerControls"/>
    </lcf76f155ced4ddcb4097134ff3c332f>
    <TaxCatchAll xmlns="a9bc8928-c54f-494a-a2f0-64188098b7d2"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7B0D855CA51BAA4AA97FD85D649E9061" ma:contentTypeVersion="17" ma:contentTypeDescription="Ein neues Dokument erstellen." ma:contentTypeScope="" ma:versionID="88a47a294788d3db6ac541f2bf829df9">
  <xsd:schema xmlns:xsd="http://www.w3.org/2001/XMLSchema" xmlns:xs="http://www.w3.org/2001/XMLSchema" xmlns:p="http://schemas.microsoft.com/office/2006/metadata/properties" xmlns:ns2="adfa7484-d6f3-4e7e-9538-74ddd14a98e7" xmlns:ns3="a9bc8928-c54f-494a-a2f0-64188098b7d2" targetNamespace="http://schemas.microsoft.com/office/2006/metadata/properties" ma:root="true" ma:fieldsID="6dd0ce87d88489bb5495e6684a229e65" ns2:_="" ns3:_="">
    <xsd:import namespace="adfa7484-d6f3-4e7e-9538-74ddd14a98e7"/>
    <xsd:import namespace="a9bc8928-c54f-494a-a2f0-64188098b7d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DateTake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fa7484-d6f3-4e7e-9538-74ddd14a98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Bildmarkierungen" ma:readOnly="false" ma:fieldId="{5cf76f15-5ced-4ddc-b409-7134ff3c332f}" ma:taxonomyMulti="true" ma:sspId="325753ee-1565-428d-819f-4135842f58f2"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9bc8928-c54f-494a-a2f0-64188098b7d2" elementFormDefault="qualified">
    <xsd:import namespace="http://schemas.microsoft.com/office/2006/documentManagement/types"/>
    <xsd:import namespace="http://schemas.microsoft.com/office/infopath/2007/PartnerControls"/>
    <xsd:element name="SharedWithUsers" ma:index="16"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Freigegeben für - Details" ma:internalName="SharedWithDetails" ma:readOnly="true">
      <xsd:simpleType>
        <xsd:restriction base="dms:Note">
          <xsd:maxLength value="255"/>
        </xsd:restriction>
      </xsd:simpleType>
    </xsd:element>
    <xsd:element name="TaxCatchAll" ma:index="21" nillable="true" ma:displayName="Taxonomy Catch All Column" ma:hidden="true" ma:list="{86150015-325f-4f07-a4e9-ee18a275c721}" ma:internalName="TaxCatchAll" ma:showField="CatchAllData" ma:web="a9bc8928-c54f-494a-a2f0-64188098b7d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588795-DC22-4B7C-9E21-398C02CC0419}">
  <ds:schemaRefs>
    <ds:schemaRef ds:uri="http://schemas.microsoft.com/sharepoint/v3/contenttype/forms"/>
  </ds:schemaRefs>
</ds:datastoreItem>
</file>

<file path=customXml/itemProps2.xml><?xml version="1.0" encoding="utf-8"?>
<ds:datastoreItem xmlns:ds="http://schemas.openxmlformats.org/officeDocument/2006/customXml" ds:itemID="{4527F8BC-A97C-4DF9-ABFD-5D8C1411B6AE}">
  <ds:schemaRefs>
    <ds:schemaRef ds:uri="a9bc8928-c54f-494a-a2f0-64188098b7d2"/>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schemas.microsoft.com/office/2006/metadata/properties"/>
    <ds:schemaRef ds:uri="http://purl.org/dc/elements/1.1/"/>
    <ds:schemaRef ds:uri="adfa7484-d6f3-4e7e-9538-74ddd14a98e7"/>
    <ds:schemaRef ds:uri="http://www.w3.org/XML/1998/namespace"/>
    <ds:schemaRef ds:uri="http://purl.org/dc/dcmitype/"/>
  </ds:schemaRefs>
</ds:datastoreItem>
</file>

<file path=customXml/itemProps3.xml><?xml version="1.0" encoding="utf-8"?>
<ds:datastoreItem xmlns:ds="http://schemas.openxmlformats.org/officeDocument/2006/customXml" ds:itemID="{8177DF3C-AB9F-43A0-B460-9D3491D892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fa7484-d6f3-4e7e-9538-74ddd14a98e7"/>
    <ds:schemaRef ds:uri="a9bc8928-c54f-494a-a2f0-64188098b7d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sign_ETH_8</Template>
  <TotalTime>0</TotalTime>
  <Words>4504</Words>
  <Application>Microsoft Office PowerPoint</Application>
  <PresentationFormat>Widescreen</PresentationFormat>
  <Paragraphs>556</Paragraphs>
  <Slides>32</Slides>
  <Notes>31</Notes>
  <HiddenSlides>11</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2</vt:i4>
      </vt:variant>
    </vt:vector>
  </HeadingPairs>
  <TitlesOfParts>
    <vt:vector size="38" baseType="lpstr">
      <vt:lpstr>Arial</vt:lpstr>
      <vt:lpstr>Arial,Sans-Serif</vt:lpstr>
      <vt:lpstr>Calibri</vt:lpstr>
      <vt:lpstr>Symbol</vt:lpstr>
      <vt:lpstr>ETH Zürich</vt:lpstr>
      <vt:lpstr>think-cell Slide</vt:lpstr>
      <vt:lpstr>PowerPoint Presentation</vt:lpstr>
      <vt:lpstr>Einführung in den Workshop</vt:lpstr>
      <vt:lpstr>Schwerpunktthemen dieses Workshops</vt:lpstr>
      <vt:lpstr>Relevante Erkenntnisse innerhalb der ETH   </vt:lpstr>
      <vt:lpstr>Fragen, welche ich mir als vorgesetzte Person in Vorbereitung  auf den Workshop stellen kann </vt:lpstr>
      <vt:lpstr>Vorbereitung für den Workshop</vt:lpstr>
      <vt:lpstr>Beispielhafter Ablauf (1/2) Bitte planen Sie ca. 2.5 Stunden ein </vt:lpstr>
      <vt:lpstr>Beispielhafter Ablauf (2/2) Bitte planen Sie ca. 2.5 Stunden ein </vt:lpstr>
      <vt:lpstr>PowerPoint Presentation</vt:lpstr>
      <vt:lpstr>Grundsätze </vt:lpstr>
      <vt:lpstr>Einen Konsens im Team entwickeln</vt:lpstr>
      <vt:lpstr>Workshop Überblick</vt:lpstr>
      <vt:lpstr>Ablauf</vt:lpstr>
      <vt:lpstr>Ablauf</vt:lpstr>
      <vt:lpstr>Check-in (Vorschlag)</vt:lpstr>
      <vt:lpstr>Check-in (Vorschlag)</vt:lpstr>
      <vt:lpstr>Ablauf</vt:lpstr>
      <vt:lpstr>Zusammenarbeit</vt:lpstr>
      <vt:lpstr>Zusammenarbeit - Fragen und Perspektiven</vt:lpstr>
      <vt:lpstr>Umgang mit extremen Einstellungen</vt:lpstr>
      <vt:lpstr>Umgang mit extremen Einstellungen – Selbstreflexion</vt:lpstr>
      <vt:lpstr>Ablauf</vt:lpstr>
      <vt:lpstr>Zielerreichung - Rating</vt:lpstr>
      <vt:lpstr>Anleitung zur Verwendung von Mentimeter für die Bewertung (optional)</vt:lpstr>
      <vt:lpstr>PowerPoint Presentation</vt:lpstr>
      <vt:lpstr>Zielerreichung - offene Diskussion</vt:lpstr>
      <vt:lpstr>   Break</vt:lpstr>
      <vt:lpstr>Ablauf</vt:lpstr>
      <vt:lpstr>Zusammenhalt und Wohlbefinden im Team</vt:lpstr>
      <vt:lpstr>Ablauf</vt:lpstr>
      <vt:lpstr>Check-out &amp; nächste Schritte (Beispielübung)</vt:lpstr>
      <vt:lpstr>Viel Erfol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hlia Kaelin</dc:creator>
  <cp:lastModifiedBy>van Leeuwen  Sara (VPPL)</cp:lastModifiedBy>
  <cp:revision>114</cp:revision>
  <dcterms:created xsi:type="dcterms:W3CDTF">2021-01-13T10:22:45Z</dcterms:created>
  <dcterms:modified xsi:type="dcterms:W3CDTF">2024-02-29T09:4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B0D855CA51BAA4AA97FD85D649E9061</vt:lpwstr>
  </property>
  <property fmtid="{D5CDD505-2E9C-101B-9397-08002B2CF9AE}" pid="3" name="MediaServiceImageTags">
    <vt:lpwstr/>
  </property>
</Properties>
</file>